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07" r:id="rId4"/>
  </p:sldMasterIdLst>
  <p:notesMasterIdLst>
    <p:notesMasterId r:id="rId28"/>
  </p:notesMasterIdLst>
  <p:handoutMasterIdLst>
    <p:handoutMasterId r:id="rId29"/>
  </p:handoutMasterIdLst>
  <p:sldIdLst>
    <p:sldId id="622" r:id="rId5"/>
    <p:sldId id="614" r:id="rId6"/>
    <p:sldId id="628" r:id="rId7"/>
    <p:sldId id="637" r:id="rId8"/>
    <p:sldId id="631" r:id="rId9"/>
    <p:sldId id="630" r:id="rId10"/>
    <p:sldId id="629" r:id="rId11"/>
    <p:sldId id="617" r:id="rId12"/>
    <p:sldId id="616" r:id="rId13"/>
    <p:sldId id="624" r:id="rId14"/>
    <p:sldId id="625" r:id="rId15"/>
    <p:sldId id="618" r:id="rId16"/>
    <p:sldId id="619" r:id="rId17"/>
    <p:sldId id="620" r:id="rId18"/>
    <p:sldId id="626" r:id="rId19"/>
    <p:sldId id="615" r:id="rId20"/>
    <p:sldId id="638" r:id="rId21"/>
    <p:sldId id="639" r:id="rId22"/>
    <p:sldId id="640" r:id="rId23"/>
    <p:sldId id="641" r:id="rId24"/>
    <p:sldId id="636" r:id="rId25"/>
    <p:sldId id="633" r:id="rId26"/>
    <p:sldId id="632" r:id="rId27"/>
  </p:sldIdLst>
  <p:sldSz cx="9144000" cy="6858000" type="screen4x3"/>
  <p:notesSz cx="10234613" cy="7099300"/>
  <p:custDataLst>
    <p:tags r:id="rId30"/>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 id="2" name="BayroffM" initials="B" lastIdx="3" clrIdx="2"/>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clrMode="bw" scaleToFitPaper="1"/>
  <p:clrMru>
    <a:srgbClr val="3358A1"/>
    <a:srgbClr val="669BD1"/>
    <a:srgbClr val="1F497D"/>
    <a:srgbClr val="009999"/>
    <a:srgbClr val="669BFF"/>
    <a:srgbClr val="3342B5"/>
    <a:srgbClr val="002776"/>
    <a:srgbClr val="72C7E7"/>
    <a:srgbClr val="6296FF"/>
    <a:srgbClr val="8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8DD5831-5125-4D1D-A9A5-347843CA56AB}">
  <a:tblStyle styleId="{58DD5831-5125-4D1D-A9A5-347843CA56AB}" styleName="Deloitte">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92" autoAdjust="0"/>
    <p:restoredTop sz="96625" autoAdjust="0"/>
  </p:normalViewPr>
  <p:slideViewPr>
    <p:cSldViewPr snapToGrid="0">
      <p:cViewPr varScale="1">
        <p:scale>
          <a:sx n="109" d="100"/>
          <a:sy n="109" d="100"/>
        </p:scale>
        <p:origin x="-1812" y="-84"/>
      </p:cViewPr>
      <p:guideLst>
        <p:guide orient="horz" pos="3073"/>
        <p:guide orient="horz" pos="2534"/>
        <p:guide orient="horz" pos="4097"/>
        <p:guide orient="horz" pos="866"/>
        <p:guide orient="horz" pos="556"/>
        <p:guide orient="horz" pos="187"/>
        <p:guide orient="horz"/>
        <p:guide orient="horz" pos="4319"/>
        <p:guide orient="horz" pos="1153"/>
        <p:guide pos="5521"/>
        <p:guide pos="242"/>
        <p:guide pos="2881"/>
        <p:guide pos="2981"/>
        <p:guide pos="2772"/>
        <p:guide/>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664" y="-96"/>
      </p:cViewPr>
      <p:guideLst>
        <p:guide orient="horz" pos="2237"/>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Wihout 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B$2:$B$5</c:f>
              <c:numCache>
                <c:formatCode>General</c:formatCode>
                <c:ptCount val="4"/>
                <c:pt idx="0">
                  <c:v>22</c:v>
                </c:pt>
                <c:pt idx="1">
                  <c:v>22</c:v>
                </c:pt>
                <c:pt idx="2">
                  <c:v>22</c:v>
                </c:pt>
                <c:pt idx="3">
                  <c:v>22</c:v>
                </c:pt>
              </c:numCache>
            </c:numRef>
          </c:val>
          <c:smooth val="1"/>
        </c:ser>
        <c:ser>
          <c:idx val="1"/>
          <c:order val="1"/>
          <c:tx>
            <c:strRef>
              <c:f>Sheet1!$C$1</c:f>
              <c:strCache>
                <c:ptCount val="1"/>
                <c:pt idx="0">
                  <c:v>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C$2:$C$5</c:f>
              <c:numCache>
                <c:formatCode>General</c:formatCode>
                <c:ptCount val="4"/>
                <c:pt idx="0">
                  <c:v>3.5</c:v>
                </c:pt>
                <c:pt idx="1">
                  <c:v>2</c:v>
                </c:pt>
                <c:pt idx="2">
                  <c:v>1</c:v>
                </c:pt>
                <c:pt idx="3">
                  <c:v>0.75</c:v>
                </c:pt>
              </c:numCache>
            </c:numRef>
          </c:val>
          <c:smooth val="1"/>
        </c:ser>
        <c:dLbls>
          <c:showLegendKey val="0"/>
          <c:showVal val="0"/>
          <c:showCatName val="0"/>
          <c:showSerName val="0"/>
          <c:showPercent val="0"/>
          <c:showBubbleSize val="0"/>
        </c:dLbls>
        <c:marker val="1"/>
        <c:smooth val="0"/>
        <c:axId val="32049792"/>
        <c:axId val="32055680"/>
      </c:lineChart>
      <c:catAx>
        <c:axId val="32049792"/>
        <c:scaling>
          <c:orientation val="minMax"/>
        </c:scaling>
        <c:delete val="0"/>
        <c:axPos val="b"/>
        <c:majorTickMark val="out"/>
        <c:minorTickMark val="none"/>
        <c:tickLblPos val="nextTo"/>
        <c:txPr>
          <a:bodyPr/>
          <a:lstStyle/>
          <a:p>
            <a:pPr>
              <a:defRPr sz="1400" b="0" i="0" baseline="0"/>
            </a:pPr>
            <a:endParaRPr lang="en-US"/>
          </a:p>
        </c:txPr>
        <c:crossAx val="32055680"/>
        <c:crosses val="autoZero"/>
        <c:auto val="1"/>
        <c:lblAlgn val="ctr"/>
        <c:lblOffset val="100"/>
        <c:noMultiLvlLbl val="0"/>
      </c:catAx>
      <c:valAx>
        <c:axId val="32055680"/>
        <c:scaling>
          <c:orientation val="minMax"/>
        </c:scaling>
        <c:delete val="0"/>
        <c:axPos val="l"/>
        <c:majorGridlines>
          <c:spPr>
            <a:ln>
              <a:noFill/>
            </a:ln>
          </c:spPr>
        </c:majorGridlines>
        <c:numFmt formatCode="General" sourceLinked="1"/>
        <c:majorTickMark val="out"/>
        <c:minorTickMark val="none"/>
        <c:tickLblPos val="nextTo"/>
        <c:txPr>
          <a:bodyPr/>
          <a:lstStyle/>
          <a:p>
            <a:pPr>
              <a:defRPr sz="1400" b="1" i="0" baseline="0"/>
            </a:pPr>
            <a:endParaRPr lang="en-US"/>
          </a:p>
        </c:txPr>
        <c:crossAx val="32049792"/>
        <c:crosses val="autoZero"/>
        <c:crossBetween val="between"/>
      </c:valAx>
    </c:plotArea>
    <c:legend>
      <c:legendPos val="r"/>
      <c:layout>
        <c:manualLayout>
          <c:xMode val="edge"/>
          <c:yMode val="edge"/>
          <c:x val="0.74054828176273502"/>
          <c:y val="0.21777093045127099"/>
          <c:w val="0.24731364829396299"/>
          <c:h val="0.34566998234259599"/>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8FA761-0203-47F2-92CD-4C3851370B32}"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AU"/>
        </a:p>
      </dgm:t>
    </dgm:pt>
    <dgm:pt modelId="{2E23B7AE-554E-4C0B-8EF1-07CD2C14807A}">
      <dgm:prSet phldrT="[Text]"/>
      <dgm:spPr/>
      <dgm:t>
        <a:bodyPr/>
        <a:lstStyle/>
        <a:p>
          <a:r>
            <a:rPr lang="en-AU" dirty="0" smtClean="0"/>
            <a:t>Workshop Approach</a:t>
          </a:r>
          <a:endParaRPr lang="en-AU" dirty="0"/>
        </a:p>
      </dgm:t>
    </dgm:pt>
    <dgm:pt modelId="{0ACB032A-DF8F-4E10-A5C1-0FA8E88AC49E}" type="parTrans" cxnId="{3754FB2A-7EEE-4296-A1F8-484922EF2D4B}">
      <dgm:prSet/>
      <dgm:spPr/>
      <dgm:t>
        <a:bodyPr/>
        <a:lstStyle/>
        <a:p>
          <a:endParaRPr lang="en-AU"/>
        </a:p>
      </dgm:t>
    </dgm:pt>
    <dgm:pt modelId="{0A0EC35B-F034-4CCE-AF8F-F350F0C0B10B}" type="sibTrans" cxnId="{3754FB2A-7EEE-4296-A1F8-484922EF2D4B}">
      <dgm:prSet/>
      <dgm:spPr/>
      <dgm:t>
        <a:bodyPr/>
        <a:lstStyle/>
        <a:p>
          <a:endParaRPr lang="en-AU"/>
        </a:p>
      </dgm:t>
    </dgm:pt>
    <dgm:pt modelId="{802B5523-85CF-4466-A96C-55E6A563C3F5}">
      <dgm:prSet phldrT="[Text]"/>
      <dgm:spPr/>
      <dgm:t>
        <a:bodyPr/>
        <a:lstStyle/>
        <a:p>
          <a:r>
            <a:rPr lang="en-AU" dirty="0" smtClean="0"/>
            <a:t>Can be easily scheduled and coordinated with participants’ schedules</a:t>
          </a:r>
          <a:endParaRPr lang="en-AU" dirty="0"/>
        </a:p>
      </dgm:t>
    </dgm:pt>
    <dgm:pt modelId="{2DA364C5-9CC4-4149-A1CD-D93EBAB5AC68}" type="parTrans" cxnId="{D4F0ABC3-2536-42D3-8679-1CF4C05E0483}">
      <dgm:prSet/>
      <dgm:spPr/>
      <dgm:t>
        <a:bodyPr/>
        <a:lstStyle/>
        <a:p>
          <a:endParaRPr lang="en-AU"/>
        </a:p>
      </dgm:t>
    </dgm:pt>
    <dgm:pt modelId="{755B9C50-8D54-4369-AAC3-3A5696B8AF2D}" type="sibTrans" cxnId="{D4F0ABC3-2536-42D3-8679-1CF4C05E0483}">
      <dgm:prSet/>
      <dgm:spPr/>
      <dgm:t>
        <a:bodyPr/>
        <a:lstStyle/>
        <a:p>
          <a:endParaRPr lang="en-AU"/>
        </a:p>
      </dgm:t>
    </dgm:pt>
    <dgm:pt modelId="{307F89A6-A8F4-436C-A40C-B923353FEAF7}">
      <dgm:prSet phldrT="[Text]"/>
      <dgm:spPr/>
      <dgm:t>
        <a:bodyPr/>
        <a:lstStyle/>
        <a:p>
          <a:r>
            <a:rPr lang="en-AU" dirty="0" smtClean="0"/>
            <a:t>Robust against biases such as groupthink</a:t>
          </a:r>
          <a:endParaRPr lang="en-AU" dirty="0"/>
        </a:p>
      </dgm:t>
    </dgm:pt>
    <dgm:pt modelId="{9AE7780F-FB0F-4BDA-898F-2E610C0F5A06}" type="parTrans" cxnId="{100C1F1D-38DA-4F98-BB98-BD2EF696ADF9}">
      <dgm:prSet/>
      <dgm:spPr/>
      <dgm:t>
        <a:bodyPr/>
        <a:lstStyle/>
        <a:p>
          <a:endParaRPr lang="en-AU"/>
        </a:p>
      </dgm:t>
    </dgm:pt>
    <dgm:pt modelId="{2275FE07-3B90-419E-B5AF-AAE266EF5DB7}" type="sibTrans" cxnId="{100C1F1D-38DA-4F98-BB98-BD2EF696ADF9}">
      <dgm:prSet/>
      <dgm:spPr/>
      <dgm:t>
        <a:bodyPr/>
        <a:lstStyle/>
        <a:p>
          <a:endParaRPr lang="en-AU"/>
        </a:p>
      </dgm:t>
    </dgm:pt>
    <dgm:pt modelId="{BDFFC6E2-9A40-4404-9612-6D0D43EF8EEA}">
      <dgm:prSet phldrT="[Text]"/>
      <dgm:spPr/>
      <dgm:t>
        <a:bodyPr/>
        <a:lstStyle/>
        <a:p>
          <a:r>
            <a:rPr lang="en-AU" dirty="0" smtClean="0"/>
            <a:t>Robust against socially desirable responses, especially if one’s boss is in the room</a:t>
          </a:r>
          <a:endParaRPr lang="en-AU" dirty="0"/>
        </a:p>
      </dgm:t>
    </dgm:pt>
    <dgm:pt modelId="{4B80EECF-900E-4700-8BED-491D3B0496D8}" type="parTrans" cxnId="{822BE2A9-9E63-4B5B-8101-2797FA57C29B}">
      <dgm:prSet/>
      <dgm:spPr/>
      <dgm:t>
        <a:bodyPr/>
        <a:lstStyle/>
        <a:p>
          <a:endParaRPr lang="en-AU"/>
        </a:p>
      </dgm:t>
    </dgm:pt>
    <dgm:pt modelId="{4E21EE54-DD5A-4A7E-8BC0-CDE04EB87DD7}" type="sibTrans" cxnId="{822BE2A9-9E63-4B5B-8101-2797FA57C29B}">
      <dgm:prSet/>
      <dgm:spPr/>
      <dgm:t>
        <a:bodyPr/>
        <a:lstStyle/>
        <a:p>
          <a:endParaRPr lang="en-AU"/>
        </a:p>
      </dgm:t>
    </dgm:pt>
    <dgm:pt modelId="{1C30CB34-2FD9-4D6F-832E-552098BED460}">
      <dgm:prSet phldrT="[Text]"/>
      <dgm:spPr/>
      <dgm:t>
        <a:bodyPr/>
        <a:lstStyle/>
        <a:p>
          <a:r>
            <a:rPr lang="en-AU" dirty="0" smtClean="0"/>
            <a:t>Specializ Approach</a:t>
          </a:r>
          <a:endParaRPr lang="en-AU" dirty="0"/>
        </a:p>
      </dgm:t>
    </dgm:pt>
    <dgm:pt modelId="{8083E3CC-C11F-407E-A09D-1DDFD60DF56A}" type="parTrans" cxnId="{4803F5B0-AA5B-4506-8951-7A055362FB69}">
      <dgm:prSet/>
      <dgm:spPr/>
      <dgm:t>
        <a:bodyPr/>
        <a:lstStyle/>
        <a:p>
          <a:endParaRPr lang="en-AU"/>
        </a:p>
      </dgm:t>
    </dgm:pt>
    <dgm:pt modelId="{BABDC75A-80FA-446E-A632-3922061F13E5}" type="sibTrans" cxnId="{4803F5B0-AA5B-4506-8951-7A055362FB69}">
      <dgm:prSet/>
      <dgm:spPr/>
      <dgm:t>
        <a:bodyPr/>
        <a:lstStyle/>
        <a:p>
          <a:endParaRPr lang="en-AU"/>
        </a:p>
      </dgm:t>
    </dgm:pt>
    <dgm:pt modelId="{E8A11B46-9B02-4BC1-B479-44F3D377901E}">
      <dgm:prSet phldrT="[Text]"/>
      <dgm:spPr/>
      <dgm:t>
        <a:bodyPr/>
        <a:lstStyle/>
        <a:p>
          <a:r>
            <a:rPr lang="en-AU" dirty="0" smtClean="0"/>
            <a:t>Participants complete Health Check and Safety assessments online and on their own time</a:t>
          </a:r>
          <a:endParaRPr lang="en-AU" dirty="0"/>
        </a:p>
      </dgm:t>
    </dgm:pt>
    <dgm:pt modelId="{86858A4E-FBE4-41DE-A992-E7F3D9B9BB9B}" type="parTrans" cxnId="{14C7A707-1EF3-408C-BF54-300D79F23ACD}">
      <dgm:prSet/>
      <dgm:spPr/>
      <dgm:t>
        <a:bodyPr/>
        <a:lstStyle/>
        <a:p>
          <a:endParaRPr lang="en-AU"/>
        </a:p>
      </dgm:t>
    </dgm:pt>
    <dgm:pt modelId="{C48F0104-60D6-4E3B-90A6-D2A435B4FD8A}" type="sibTrans" cxnId="{14C7A707-1EF3-408C-BF54-300D79F23ACD}">
      <dgm:prSet/>
      <dgm:spPr/>
      <dgm:t>
        <a:bodyPr/>
        <a:lstStyle/>
        <a:p>
          <a:endParaRPr lang="en-AU"/>
        </a:p>
      </dgm:t>
    </dgm:pt>
    <dgm:pt modelId="{92169209-6A1A-4811-A707-6C5E2C83F687}">
      <dgm:prSet phldrT="[Text]"/>
      <dgm:spPr/>
      <dgm:t>
        <a:bodyPr/>
        <a:lstStyle/>
        <a:p>
          <a:r>
            <a:rPr lang="en-AU" dirty="0" smtClean="0"/>
            <a:t>Specializ is anonymous allowing participants to freely state their beliefs</a:t>
          </a:r>
          <a:endParaRPr lang="en-AU" dirty="0"/>
        </a:p>
      </dgm:t>
    </dgm:pt>
    <dgm:pt modelId="{157612A8-E040-4678-82D4-080AFA6D0426}" type="parTrans" cxnId="{C8FD4420-BE32-4ACD-9BAC-D4153CD0348E}">
      <dgm:prSet/>
      <dgm:spPr/>
      <dgm:t>
        <a:bodyPr/>
        <a:lstStyle/>
        <a:p>
          <a:endParaRPr lang="en-AU"/>
        </a:p>
      </dgm:t>
    </dgm:pt>
    <dgm:pt modelId="{B6B84768-7E8D-41BA-8A8E-592A8DDEEAEA}" type="sibTrans" cxnId="{C8FD4420-BE32-4ACD-9BAC-D4153CD0348E}">
      <dgm:prSet/>
      <dgm:spPr/>
      <dgm:t>
        <a:bodyPr/>
        <a:lstStyle/>
        <a:p>
          <a:endParaRPr lang="en-AU"/>
        </a:p>
      </dgm:t>
    </dgm:pt>
    <dgm:pt modelId="{8F3D69ED-B0AE-4728-88F2-840A920A278C}">
      <dgm:prSet phldrT="[Text]"/>
      <dgm:spPr/>
      <dgm:t>
        <a:bodyPr/>
        <a:lstStyle/>
        <a:p>
          <a:r>
            <a:rPr lang="en-AU" dirty="0" smtClean="0"/>
            <a:t>Specializ iterates until consensus is reached</a:t>
          </a:r>
          <a:endParaRPr lang="en-AU" dirty="0"/>
        </a:p>
      </dgm:t>
    </dgm:pt>
    <dgm:pt modelId="{32356A77-64AE-424D-B273-DB7D6943C5C5}" type="parTrans" cxnId="{9348BD56-71F6-4AA4-9D50-E864D0E9540C}">
      <dgm:prSet/>
      <dgm:spPr/>
      <dgm:t>
        <a:bodyPr/>
        <a:lstStyle/>
        <a:p>
          <a:endParaRPr lang="en-AU"/>
        </a:p>
      </dgm:t>
    </dgm:pt>
    <dgm:pt modelId="{78D2C690-4B1B-41F9-96FC-086D131202BE}" type="sibTrans" cxnId="{9348BD56-71F6-4AA4-9D50-E864D0E9540C}">
      <dgm:prSet/>
      <dgm:spPr/>
      <dgm:t>
        <a:bodyPr/>
        <a:lstStyle/>
        <a:p>
          <a:endParaRPr lang="en-AU"/>
        </a:p>
      </dgm:t>
    </dgm:pt>
    <dgm:pt modelId="{D37EBCAE-8175-4C39-B20E-288A7DF04126}">
      <dgm:prSet phldrT="[Text]"/>
      <dgm:spPr/>
      <dgm:t>
        <a:bodyPr/>
        <a:lstStyle/>
        <a:p>
          <a:r>
            <a:rPr lang="en-AU" dirty="0" smtClean="0"/>
            <a:t>Anonymity of participant responses</a:t>
          </a:r>
          <a:endParaRPr lang="en-AU" dirty="0"/>
        </a:p>
      </dgm:t>
    </dgm:pt>
    <dgm:pt modelId="{117564BC-95F2-422C-AF49-0AC5D4B93C5A}" type="parTrans" cxnId="{DA0D9F21-1695-4747-879D-DECF0A801E61}">
      <dgm:prSet/>
      <dgm:spPr/>
      <dgm:t>
        <a:bodyPr/>
        <a:lstStyle/>
        <a:p>
          <a:endParaRPr lang="en-AU"/>
        </a:p>
      </dgm:t>
    </dgm:pt>
    <dgm:pt modelId="{5178DADC-5E8D-4023-886D-58B61FB1B480}" type="sibTrans" cxnId="{DA0D9F21-1695-4747-879D-DECF0A801E61}">
      <dgm:prSet/>
      <dgm:spPr/>
      <dgm:t>
        <a:bodyPr/>
        <a:lstStyle/>
        <a:p>
          <a:endParaRPr lang="en-AU"/>
        </a:p>
      </dgm:t>
    </dgm:pt>
    <dgm:pt modelId="{532E6B4C-DE67-4EBD-A462-F6A3C564F4B4}">
      <dgm:prSet phldrT="[Text]"/>
      <dgm:spPr/>
      <dgm:t>
        <a:bodyPr/>
        <a:lstStyle/>
        <a:p>
          <a:r>
            <a:rPr lang="en-AU" dirty="0" smtClean="0"/>
            <a:t>Quantifiable safety data that has reached group consensus</a:t>
          </a:r>
          <a:endParaRPr lang="en-AU" dirty="0"/>
        </a:p>
      </dgm:t>
    </dgm:pt>
    <dgm:pt modelId="{47EF8394-E566-493B-B8A5-7FCEC3FC2D60}" type="parTrans" cxnId="{4C9121A7-D52A-42C1-B655-D9901AF2F1E6}">
      <dgm:prSet/>
      <dgm:spPr/>
      <dgm:t>
        <a:bodyPr/>
        <a:lstStyle/>
        <a:p>
          <a:endParaRPr lang="en-AU"/>
        </a:p>
      </dgm:t>
    </dgm:pt>
    <dgm:pt modelId="{5992EFC7-6D28-4856-8C74-D54AD979188A}" type="sibTrans" cxnId="{4C9121A7-D52A-42C1-B655-D9901AF2F1E6}">
      <dgm:prSet/>
      <dgm:spPr/>
      <dgm:t>
        <a:bodyPr/>
        <a:lstStyle/>
        <a:p>
          <a:endParaRPr lang="en-AU"/>
        </a:p>
      </dgm:t>
    </dgm:pt>
    <dgm:pt modelId="{6B14D0A8-2E95-462B-A969-A23F330EFE1F}">
      <dgm:prSet phldrT="[Text]"/>
      <dgm:spPr/>
      <dgm:t>
        <a:bodyPr/>
        <a:lstStyle/>
        <a:p>
          <a:r>
            <a:rPr lang="en-AU" dirty="0" smtClean="0"/>
            <a:t>Standardised participant risk output from workshop to workshop</a:t>
          </a:r>
          <a:endParaRPr lang="en-AU" dirty="0"/>
        </a:p>
      </dgm:t>
    </dgm:pt>
    <dgm:pt modelId="{FA0BA254-F7ED-4685-B7E1-4B4BA6651EAB}" type="parTrans" cxnId="{4C4CF6A7-4277-4DC8-8F0D-18C2C3D81B90}">
      <dgm:prSet/>
      <dgm:spPr/>
      <dgm:t>
        <a:bodyPr/>
        <a:lstStyle/>
        <a:p>
          <a:endParaRPr lang="en-AU"/>
        </a:p>
      </dgm:t>
    </dgm:pt>
    <dgm:pt modelId="{3B490076-392C-4ACE-A671-1EBA43CE36E1}" type="sibTrans" cxnId="{4C4CF6A7-4277-4DC8-8F0D-18C2C3D81B90}">
      <dgm:prSet/>
      <dgm:spPr/>
      <dgm:t>
        <a:bodyPr/>
        <a:lstStyle/>
        <a:p>
          <a:endParaRPr lang="en-AU"/>
        </a:p>
      </dgm:t>
    </dgm:pt>
    <dgm:pt modelId="{DEA1E877-7A4C-4357-AFEF-D7DF56213B34}">
      <dgm:prSet phldrT="[Text]"/>
      <dgm:spPr/>
      <dgm:t>
        <a:bodyPr/>
        <a:lstStyle/>
        <a:p>
          <a:r>
            <a:rPr lang="en-AU" dirty="0" smtClean="0"/>
            <a:t>Specializ can produce comparable risk assessments across the entire organisation</a:t>
          </a:r>
          <a:endParaRPr lang="en-AU" dirty="0"/>
        </a:p>
      </dgm:t>
    </dgm:pt>
    <dgm:pt modelId="{8471A7F4-C4E4-45D9-986E-E440C3D1303E}" type="parTrans" cxnId="{07D5B3CC-1A8B-40FE-B89E-93B3C73DCF70}">
      <dgm:prSet/>
      <dgm:spPr/>
      <dgm:t>
        <a:bodyPr/>
        <a:lstStyle/>
        <a:p>
          <a:endParaRPr lang="en-AU"/>
        </a:p>
      </dgm:t>
    </dgm:pt>
    <dgm:pt modelId="{2099ABD8-F708-45AA-97CC-9824FBD2EEC8}" type="sibTrans" cxnId="{07D5B3CC-1A8B-40FE-B89E-93B3C73DCF70}">
      <dgm:prSet/>
      <dgm:spPr/>
      <dgm:t>
        <a:bodyPr/>
        <a:lstStyle/>
        <a:p>
          <a:endParaRPr lang="en-AU"/>
        </a:p>
      </dgm:t>
    </dgm:pt>
    <dgm:pt modelId="{DC674C89-A12A-440D-9560-5FA5C222E7F3}">
      <dgm:prSet phldrT="[Text]"/>
      <dgm:spPr/>
      <dgm:t>
        <a:bodyPr/>
        <a:lstStyle/>
        <a:p>
          <a:r>
            <a:rPr lang="en-AU" dirty="0" smtClean="0"/>
            <a:t>Specializ allows participants to feed off of each other’s ideas and vote on them</a:t>
          </a:r>
          <a:endParaRPr lang="en-AU" dirty="0"/>
        </a:p>
      </dgm:t>
    </dgm:pt>
    <dgm:pt modelId="{C00ED106-BB64-4F98-A1C9-0ADC590E2120}" type="parTrans" cxnId="{48A1380E-55E6-4312-BA7F-CB007AD51A5B}">
      <dgm:prSet/>
      <dgm:spPr/>
      <dgm:t>
        <a:bodyPr/>
        <a:lstStyle/>
        <a:p>
          <a:endParaRPr lang="en-AU"/>
        </a:p>
      </dgm:t>
    </dgm:pt>
    <dgm:pt modelId="{30917D6E-4CCA-42A4-8DC1-04AC62583DE4}" type="sibTrans" cxnId="{48A1380E-55E6-4312-BA7F-CB007AD51A5B}">
      <dgm:prSet/>
      <dgm:spPr/>
      <dgm:t>
        <a:bodyPr/>
        <a:lstStyle/>
        <a:p>
          <a:endParaRPr lang="en-AU"/>
        </a:p>
      </dgm:t>
    </dgm:pt>
    <dgm:pt modelId="{1C4AA1D6-446A-4931-9964-3E8C5A25FDAD}">
      <dgm:prSet phldrT="[Text]"/>
      <dgm:spPr/>
      <dgm:t>
        <a:bodyPr/>
        <a:lstStyle/>
        <a:p>
          <a:r>
            <a:rPr lang="en-AU" dirty="0" smtClean="0"/>
            <a:t>Specializ is fast taking less than 10 minutes to complete one iteration</a:t>
          </a:r>
          <a:endParaRPr lang="en-AU" dirty="0"/>
        </a:p>
      </dgm:t>
    </dgm:pt>
    <dgm:pt modelId="{F34AA909-BC47-400C-8263-94B3CAF9E3BF}" type="parTrans" cxnId="{16DBFCC6-5F31-4660-909F-6A75AB8E7F39}">
      <dgm:prSet/>
      <dgm:spPr/>
      <dgm:t>
        <a:bodyPr/>
        <a:lstStyle/>
        <a:p>
          <a:endParaRPr lang="en-AU"/>
        </a:p>
      </dgm:t>
    </dgm:pt>
    <dgm:pt modelId="{7998DD68-F119-4252-A0F0-AE493316DC8A}" type="sibTrans" cxnId="{16DBFCC6-5F31-4660-909F-6A75AB8E7F39}">
      <dgm:prSet/>
      <dgm:spPr/>
      <dgm:t>
        <a:bodyPr/>
        <a:lstStyle/>
        <a:p>
          <a:endParaRPr lang="en-AU"/>
        </a:p>
      </dgm:t>
    </dgm:pt>
    <dgm:pt modelId="{1A7820C3-FB04-432E-B2BE-8A86FB541E37}" type="pres">
      <dgm:prSet presAssocID="{A18FA761-0203-47F2-92CD-4C3851370B32}" presName="layout" presStyleCnt="0">
        <dgm:presLayoutVars>
          <dgm:chMax/>
          <dgm:chPref/>
          <dgm:dir/>
          <dgm:resizeHandles/>
        </dgm:presLayoutVars>
      </dgm:prSet>
      <dgm:spPr/>
      <dgm:t>
        <a:bodyPr/>
        <a:lstStyle/>
        <a:p>
          <a:endParaRPr lang="en-US"/>
        </a:p>
      </dgm:t>
    </dgm:pt>
    <dgm:pt modelId="{EF5A1DAF-85E1-4EBC-AF06-043A0073B602}" type="pres">
      <dgm:prSet presAssocID="{2E23B7AE-554E-4C0B-8EF1-07CD2C14807A}" presName="root" presStyleCnt="0">
        <dgm:presLayoutVars>
          <dgm:chMax/>
          <dgm:chPref/>
        </dgm:presLayoutVars>
      </dgm:prSet>
      <dgm:spPr/>
    </dgm:pt>
    <dgm:pt modelId="{D36E24FB-ABB3-4593-81D1-1055CE6E9B55}" type="pres">
      <dgm:prSet presAssocID="{2E23B7AE-554E-4C0B-8EF1-07CD2C14807A}" presName="rootComposite" presStyleCnt="0">
        <dgm:presLayoutVars/>
      </dgm:prSet>
      <dgm:spPr/>
    </dgm:pt>
    <dgm:pt modelId="{BCF66960-7C93-4093-9025-E0DF5DD335BF}" type="pres">
      <dgm:prSet presAssocID="{2E23B7AE-554E-4C0B-8EF1-07CD2C14807A}" presName="ParentAccent" presStyleLbl="alignNode1" presStyleIdx="0" presStyleCnt="2"/>
      <dgm:spPr>
        <a:solidFill>
          <a:srgbClr val="FF0000"/>
        </a:solidFill>
        <a:ln>
          <a:noFill/>
        </a:ln>
      </dgm:spPr>
    </dgm:pt>
    <dgm:pt modelId="{0D0F21F2-7ED3-4B50-A8F6-F579CE5A5759}" type="pres">
      <dgm:prSet presAssocID="{2E23B7AE-554E-4C0B-8EF1-07CD2C14807A}" presName="ParentSmallAccent" presStyleLbl="fgAcc1" presStyleIdx="0" presStyleCnt="2"/>
      <dgm:spPr>
        <a:solidFill>
          <a:schemeClr val="tx1">
            <a:alpha val="20000"/>
          </a:schemeClr>
        </a:solidFill>
        <a:ln>
          <a:noFill/>
        </a:ln>
      </dgm:spPr>
      <dgm:t>
        <a:bodyPr/>
        <a:lstStyle/>
        <a:p>
          <a:endParaRPr lang="en-AU"/>
        </a:p>
      </dgm:t>
    </dgm:pt>
    <dgm:pt modelId="{CF21CD4E-F29E-4366-B9A0-792125F6CD5D}" type="pres">
      <dgm:prSet presAssocID="{2E23B7AE-554E-4C0B-8EF1-07CD2C14807A}" presName="Parent" presStyleLbl="revTx" presStyleIdx="0" presStyleCnt="14">
        <dgm:presLayoutVars>
          <dgm:chMax/>
          <dgm:chPref val="4"/>
          <dgm:bulletEnabled val="1"/>
        </dgm:presLayoutVars>
      </dgm:prSet>
      <dgm:spPr/>
      <dgm:t>
        <a:bodyPr/>
        <a:lstStyle/>
        <a:p>
          <a:endParaRPr lang="en-AU"/>
        </a:p>
      </dgm:t>
    </dgm:pt>
    <dgm:pt modelId="{02871FB3-838D-482E-A5E2-12B1EEF16BC3}" type="pres">
      <dgm:prSet presAssocID="{2E23B7AE-554E-4C0B-8EF1-07CD2C14807A}" presName="childShape" presStyleCnt="0">
        <dgm:presLayoutVars>
          <dgm:chMax val="0"/>
          <dgm:chPref val="0"/>
        </dgm:presLayoutVars>
      </dgm:prSet>
      <dgm:spPr/>
    </dgm:pt>
    <dgm:pt modelId="{2E1ED3C0-45A4-495C-B866-8846FECC818A}" type="pres">
      <dgm:prSet presAssocID="{802B5523-85CF-4466-A96C-55E6A563C3F5}" presName="childComposite" presStyleCnt="0">
        <dgm:presLayoutVars>
          <dgm:chMax val="0"/>
          <dgm:chPref val="0"/>
        </dgm:presLayoutVars>
      </dgm:prSet>
      <dgm:spPr/>
    </dgm:pt>
    <dgm:pt modelId="{A818A80A-A3CE-453B-9935-5332AEAA594C}" type="pres">
      <dgm:prSet presAssocID="{802B5523-85CF-4466-A96C-55E6A563C3F5}" presName="ChildAccent" presStyleLbl="solidFgAcc1" presStyleIdx="0" presStyleCnt="12"/>
      <dgm:spPr>
        <a:ln>
          <a:solidFill>
            <a:schemeClr val="tx1"/>
          </a:solidFill>
        </a:ln>
      </dgm:spPr>
    </dgm:pt>
    <dgm:pt modelId="{5A9DA645-9CC8-4734-9571-39BEC0C1A46D}" type="pres">
      <dgm:prSet presAssocID="{802B5523-85CF-4466-A96C-55E6A563C3F5}" presName="Child" presStyleLbl="revTx" presStyleIdx="1" presStyleCnt="14">
        <dgm:presLayoutVars>
          <dgm:chMax val="0"/>
          <dgm:chPref val="0"/>
          <dgm:bulletEnabled val="1"/>
        </dgm:presLayoutVars>
      </dgm:prSet>
      <dgm:spPr/>
      <dgm:t>
        <a:bodyPr/>
        <a:lstStyle/>
        <a:p>
          <a:endParaRPr lang="en-AU"/>
        </a:p>
      </dgm:t>
    </dgm:pt>
    <dgm:pt modelId="{C991B8E5-84A5-4944-8373-4F1FDBDBD3BC}" type="pres">
      <dgm:prSet presAssocID="{307F89A6-A8F4-436C-A40C-B923353FEAF7}" presName="childComposite" presStyleCnt="0">
        <dgm:presLayoutVars>
          <dgm:chMax val="0"/>
          <dgm:chPref val="0"/>
        </dgm:presLayoutVars>
      </dgm:prSet>
      <dgm:spPr/>
    </dgm:pt>
    <dgm:pt modelId="{1202E27E-BBC6-4D1C-8670-4C358625924B}" type="pres">
      <dgm:prSet presAssocID="{307F89A6-A8F4-436C-A40C-B923353FEAF7}" presName="ChildAccent" presStyleLbl="solidFgAcc1" presStyleIdx="1" presStyleCnt="12"/>
      <dgm:spPr>
        <a:ln>
          <a:solidFill>
            <a:schemeClr val="tx1"/>
          </a:solidFill>
        </a:ln>
      </dgm:spPr>
    </dgm:pt>
    <dgm:pt modelId="{BC54D025-F2CA-4A11-8E61-32C4E4C97E8A}" type="pres">
      <dgm:prSet presAssocID="{307F89A6-A8F4-436C-A40C-B923353FEAF7}" presName="Child" presStyleLbl="revTx" presStyleIdx="2" presStyleCnt="14">
        <dgm:presLayoutVars>
          <dgm:chMax val="0"/>
          <dgm:chPref val="0"/>
          <dgm:bulletEnabled val="1"/>
        </dgm:presLayoutVars>
      </dgm:prSet>
      <dgm:spPr/>
      <dgm:t>
        <a:bodyPr/>
        <a:lstStyle/>
        <a:p>
          <a:endParaRPr lang="en-US"/>
        </a:p>
      </dgm:t>
    </dgm:pt>
    <dgm:pt modelId="{FFF75A41-88A5-432E-A4E8-88D8FE29BF10}" type="pres">
      <dgm:prSet presAssocID="{BDFFC6E2-9A40-4404-9612-6D0D43EF8EEA}" presName="childComposite" presStyleCnt="0">
        <dgm:presLayoutVars>
          <dgm:chMax val="0"/>
          <dgm:chPref val="0"/>
        </dgm:presLayoutVars>
      </dgm:prSet>
      <dgm:spPr/>
    </dgm:pt>
    <dgm:pt modelId="{D55DF152-C207-4F1B-9844-3D59D9497080}" type="pres">
      <dgm:prSet presAssocID="{BDFFC6E2-9A40-4404-9612-6D0D43EF8EEA}" presName="ChildAccent" presStyleLbl="solidFgAcc1" presStyleIdx="2" presStyleCnt="12"/>
      <dgm:spPr>
        <a:ln>
          <a:solidFill>
            <a:schemeClr val="tx1"/>
          </a:solidFill>
        </a:ln>
      </dgm:spPr>
    </dgm:pt>
    <dgm:pt modelId="{66643486-E055-4213-9887-4D2B40F6DEFE}" type="pres">
      <dgm:prSet presAssocID="{BDFFC6E2-9A40-4404-9612-6D0D43EF8EEA}" presName="Child" presStyleLbl="revTx" presStyleIdx="3" presStyleCnt="14">
        <dgm:presLayoutVars>
          <dgm:chMax val="0"/>
          <dgm:chPref val="0"/>
          <dgm:bulletEnabled val="1"/>
        </dgm:presLayoutVars>
      </dgm:prSet>
      <dgm:spPr/>
      <dgm:t>
        <a:bodyPr/>
        <a:lstStyle/>
        <a:p>
          <a:endParaRPr lang="en-AU"/>
        </a:p>
      </dgm:t>
    </dgm:pt>
    <dgm:pt modelId="{7BB77BF3-3479-4F71-BF16-43C4F0A934D5}" type="pres">
      <dgm:prSet presAssocID="{D37EBCAE-8175-4C39-B20E-288A7DF04126}" presName="childComposite" presStyleCnt="0">
        <dgm:presLayoutVars>
          <dgm:chMax val="0"/>
          <dgm:chPref val="0"/>
        </dgm:presLayoutVars>
      </dgm:prSet>
      <dgm:spPr/>
    </dgm:pt>
    <dgm:pt modelId="{52805823-34A6-4B1A-935C-9F26DE1373D4}" type="pres">
      <dgm:prSet presAssocID="{D37EBCAE-8175-4C39-B20E-288A7DF04126}" presName="ChildAccent" presStyleLbl="solidFgAcc1" presStyleIdx="3" presStyleCnt="12"/>
      <dgm:spPr>
        <a:ln>
          <a:solidFill>
            <a:schemeClr val="tx1"/>
          </a:solidFill>
        </a:ln>
      </dgm:spPr>
    </dgm:pt>
    <dgm:pt modelId="{596B3353-2E71-4F6F-AA31-D0E9B16202E7}" type="pres">
      <dgm:prSet presAssocID="{D37EBCAE-8175-4C39-B20E-288A7DF04126}" presName="Child" presStyleLbl="revTx" presStyleIdx="4" presStyleCnt="14">
        <dgm:presLayoutVars>
          <dgm:chMax val="0"/>
          <dgm:chPref val="0"/>
          <dgm:bulletEnabled val="1"/>
        </dgm:presLayoutVars>
      </dgm:prSet>
      <dgm:spPr/>
      <dgm:t>
        <a:bodyPr/>
        <a:lstStyle/>
        <a:p>
          <a:endParaRPr lang="en-US"/>
        </a:p>
      </dgm:t>
    </dgm:pt>
    <dgm:pt modelId="{D7F24195-C71C-45AE-8283-5772D1E4BC7B}" type="pres">
      <dgm:prSet presAssocID="{532E6B4C-DE67-4EBD-A462-F6A3C564F4B4}" presName="childComposite" presStyleCnt="0">
        <dgm:presLayoutVars>
          <dgm:chMax val="0"/>
          <dgm:chPref val="0"/>
        </dgm:presLayoutVars>
      </dgm:prSet>
      <dgm:spPr/>
    </dgm:pt>
    <dgm:pt modelId="{573C3947-B1FC-4F32-AB64-9C66E7AA3FC3}" type="pres">
      <dgm:prSet presAssocID="{532E6B4C-DE67-4EBD-A462-F6A3C564F4B4}" presName="ChildAccent" presStyleLbl="solidFgAcc1" presStyleIdx="4" presStyleCnt="12"/>
      <dgm:spPr>
        <a:ln>
          <a:solidFill>
            <a:schemeClr val="tx1"/>
          </a:solidFill>
        </a:ln>
      </dgm:spPr>
    </dgm:pt>
    <dgm:pt modelId="{865C6E9D-57E4-45CF-A641-3DBE9A42BE06}" type="pres">
      <dgm:prSet presAssocID="{532E6B4C-DE67-4EBD-A462-F6A3C564F4B4}" presName="Child" presStyleLbl="revTx" presStyleIdx="5" presStyleCnt="14">
        <dgm:presLayoutVars>
          <dgm:chMax val="0"/>
          <dgm:chPref val="0"/>
          <dgm:bulletEnabled val="1"/>
        </dgm:presLayoutVars>
      </dgm:prSet>
      <dgm:spPr/>
      <dgm:t>
        <a:bodyPr/>
        <a:lstStyle/>
        <a:p>
          <a:endParaRPr lang="en-AU"/>
        </a:p>
      </dgm:t>
    </dgm:pt>
    <dgm:pt modelId="{767FFF0C-9F4A-4360-99D4-2BF78696B264}" type="pres">
      <dgm:prSet presAssocID="{6B14D0A8-2E95-462B-A969-A23F330EFE1F}" presName="childComposite" presStyleCnt="0">
        <dgm:presLayoutVars>
          <dgm:chMax val="0"/>
          <dgm:chPref val="0"/>
        </dgm:presLayoutVars>
      </dgm:prSet>
      <dgm:spPr/>
    </dgm:pt>
    <dgm:pt modelId="{CD8F7CF8-4E1F-467C-9FA9-B6D40B0DF39F}" type="pres">
      <dgm:prSet presAssocID="{6B14D0A8-2E95-462B-A969-A23F330EFE1F}" presName="ChildAccent" presStyleLbl="solidFgAcc1" presStyleIdx="5" presStyleCnt="12"/>
      <dgm:spPr>
        <a:ln>
          <a:solidFill>
            <a:schemeClr val="tx1"/>
          </a:solidFill>
        </a:ln>
      </dgm:spPr>
    </dgm:pt>
    <dgm:pt modelId="{4A9E779B-F279-4CFD-B45E-28D9F2CF009C}" type="pres">
      <dgm:prSet presAssocID="{6B14D0A8-2E95-462B-A969-A23F330EFE1F}" presName="Child" presStyleLbl="revTx" presStyleIdx="6" presStyleCnt="14">
        <dgm:presLayoutVars>
          <dgm:chMax val="0"/>
          <dgm:chPref val="0"/>
          <dgm:bulletEnabled val="1"/>
        </dgm:presLayoutVars>
      </dgm:prSet>
      <dgm:spPr/>
      <dgm:t>
        <a:bodyPr/>
        <a:lstStyle/>
        <a:p>
          <a:endParaRPr lang="en-AU"/>
        </a:p>
      </dgm:t>
    </dgm:pt>
    <dgm:pt modelId="{05C0C886-C9AB-4332-965D-30C417650D03}" type="pres">
      <dgm:prSet presAssocID="{1C30CB34-2FD9-4D6F-832E-552098BED460}" presName="root" presStyleCnt="0">
        <dgm:presLayoutVars>
          <dgm:chMax/>
          <dgm:chPref/>
        </dgm:presLayoutVars>
      </dgm:prSet>
      <dgm:spPr/>
    </dgm:pt>
    <dgm:pt modelId="{72523DCC-7EF7-49B4-ADA2-4AE66D177806}" type="pres">
      <dgm:prSet presAssocID="{1C30CB34-2FD9-4D6F-832E-552098BED460}" presName="rootComposite" presStyleCnt="0">
        <dgm:presLayoutVars/>
      </dgm:prSet>
      <dgm:spPr/>
    </dgm:pt>
    <dgm:pt modelId="{C35CF644-C76D-44BA-8AF7-F1CA570219E2}" type="pres">
      <dgm:prSet presAssocID="{1C30CB34-2FD9-4D6F-832E-552098BED460}" presName="ParentAccent" presStyleLbl="alignNode1" presStyleIdx="1" presStyleCnt="2"/>
      <dgm:spPr>
        <a:solidFill>
          <a:srgbClr val="00B050"/>
        </a:solidFill>
        <a:ln>
          <a:noFill/>
        </a:ln>
      </dgm:spPr>
    </dgm:pt>
    <dgm:pt modelId="{932392F0-BF2B-4290-84FF-D362792C1E94}" type="pres">
      <dgm:prSet presAssocID="{1C30CB34-2FD9-4D6F-832E-552098BED460}" presName="ParentSmallAccent" presStyleLbl="fgAcc1" presStyleIdx="1" presStyleCnt="2"/>
      <dgm:spPr>
        <a:solidFill>
          <a:schemeClr val="tx1">
            <a:alpha val="20000"/>
          </a:schemeClr>
        </a:solidFill>
        <a:ln>
          <a:noFill/>
        </a:ln>
      </dgm:spPr>
      <dgm:t>
        <a:bodyPr/>
        <a:lstStyle/>
        <a:p>
          <a:endParaRPr lang="en-AU"/>
        </a:p>
      </dgm:t>
    </dgm:pt>
    <dgm:pt modelId="{AC1B8FBC-CDCE-4813-B265-40DE9DE62D2D}" type="pres">
      <dgm:prSet presAssocID="{1C30CB34-2FD9-4D6F-832E-552098BED460}" presName="Parent" presStyleLbl="revTx" presStyleIdx="7" presStyleCnt="14">
        <dgm:presLayoutVars>
          <dgm:chMax/>
          <dgm:chPref val="4"/>
          <dgm:bulletEnabled val="1"/>
        </dgm:presLayoutVars>
      </dgm:prSet>
      <dgm:spPr/>
      <dgm:t>
        <a:bodyPr/>
        <a:lstStyle/>
        <a:p>
          <a:endParaRPr lang="en-AU"/>
        </a:p>
      </dgm:t>
    </dgm:pt>
    <dgm:pt modelId="{F05298E7-189D-4290-89FF-7C0711796E9B}" type="pres">
      <dgm:prSet presAssocID="{1C30CB34-2FD9-4D6F-832E-552098BED460}" presName="childShape" presStyleCnt="0">
        <dgm:presLayoutVars>
          <dgm:chMax val="0"/>
          <dgm:chPref val="0"/>
        </dgm:presLayoutVars>
      </dgm:prSet>
      <dgm:spPr/>
    </dgm:pt>
    <dgm:pt modelId="{F17504B0-7C60-4969-ADD4-F248C3919ED9}" type="pres">
      <dgm:prSet presAssocID="{E8A11B46-9B02-4BC1-B479-44F3D377901E}" presName="childComposite" presStyleCnt="0">
        <dgm:presLayoutVars>
          <dgm:chMax val="0"/>
          <dgm:chPref val="0"/>
        </dgm:presLayoutVars>
      </dgm:prSet>
      <dgm:spPr/>
    </dgm:pt>
    <dgm:pt modelId="{AB8BBE1A-AE53-4BDA-9171-7D6AF60C9AAF}" type="pres">
      <dgm:prSet presAssocID="{E8A11B46-9B02-4BC1-B479-44F3D377901E}" presName="ChildAccent" presStyleLbl="solidFgAcc1" presStyleIdx="6" presStyleCnt="12"/>
      <dgm:spPr>
        <a:ln>
          <a:solidFill>
            <a:schemeClr val="tx1"/>
          </a:solidFill>
        </a:ln>
      </dgm:spPr>
    </dgm:pt>
    <dgm:pt modelId="{9F7B0E26-FD90-4E05-ADEA-AE92E100898A}" type="pres">
      <dgm:prSet presAssocID="{E8A11B46-9B02-4BC1-B479-44F3D377901E}" presName="Child" presStyleLbl="revTx" presStyleIdx="8" presStyleCnt="14">
        <dgm:presLayoutVars>
          <dgm:chMax val="0"/>
          <dgm:chPref val="0"/>
          <dgm:bulletEnabled val="1"/>
        </dgm:presLayoutVars>
      </dgm:prSet>
      <dgm:spPr/>
      <dgm:t>
        <a:bodyPr/>
        <a:lstStyle/>
        <a:p>
          <a:endParaRPr lang="en-AU"/>
        </a:p>
      </dgm:t>
    </dgm:pt>
    <dgm:pt modelId="{F97ECBE5-2BF7-4EF7-B69E-BA502B077F38}" type="pres">
      <dgm:prSet presAssocID="{92169209-6A1A-4811-A707-6C5E2C83F687}" presName="childComposite" presStyleCnt="0">
        <dgm:presLayoutVars>
          <dgm:chMax val="0"/>
          <dgm:chPref val="0"/>
        </dgm:presLayoutVars>
      </dgm:prSet>
      <dgm:spPr/>
    </dgm:pt>
    <dgm:pt modelId="{3F238400-0B83-4876-B8AE-CA0F0D1CC629}" type="pres">
      <dgm:prSet presAssocID="{92169209-6A1A-4811-A707-6C5E2C83F687}" presName="ChildAccent" presStyleLbl="solidFgAcc1" presStyleIdx="7" presStyleCnt="12"/>
      <dgm:spPr>
        <a:ln>
          <a:solidFill>
            <a:schemeClr val="tx1"/>
          </a:solidFill>
        </a:ln>
      </dgm:spPr>
    </dgm:pt>
    <dgm:pt modelId="{47D320DB-F4FB-400C-9640-7844DE720301}" type="pres">
      <dgm:prSet presAssocID="{92169209-6A1A-4811-A707-6C5E2C83F687}" presName="Child" presStyleLbl="revTx" presStyleIdx="9" presStyleCnt="14">
        <dgm:presLayoutVars>
          <dgm:chMax val="0"/>
          <dgm:chPref val="0"/>
          <dgm:bulletEnabled val="1"/>
        </dgm:presLayoutVars>
      </dgm:prSet>
      <dgm:spPr/>
      <dgm:t>
        <a:bodyPr/>
        <a:lstStyle/>
        <a:p>
          <a:endParaRPr lang="en-AU"/>
        </a:p>
      </dgm:t>
    </dgm:pt>
    <dgm:pt modelId="{F05BE4BE-12D7-4C32-BCCD-1C1DE1CB888E}" type="pres">
      <dgm:prSet presAssocID="{8F3D69ED-B0AE-4728-88F2-840A920A278C}" presName="childComposite" presStyleCnt="0">
        <dgm:presLayoutVars>
          <dgm:chMax val="0"/>
          <dgm:chPref val="0"/>
        </dgm:presLayoutVars>
      </dgm:prSet>
      <dgm:spPr/>
    </dgm:pt>
    <dgm:pt modelId="{18991E8F-44A8-42C7-9516-CA8369CE552D}" type="pres">
      <dgm:prSet presAssocID="{8F3D69ED-B0AE-4728-88F2-840A920A278C}" presName="ChildAccent" presStyleLbl="solidFgAcc1" presStyleIdx="8" presStyleCnt="12"/>
      <dgm:spPr>
        <a:ln>
          <a:solidFill>
            <a:schemeClr val="tx1"/>
          </a:solidFill>
        </a:ln>
      </dgm:spPr>
    </dgm:pt>
    <dgm:pt modelId="{6169BD50-BFCE-4C03-B188-4626FA964331}" type="pres">
      <dgm:prSet presAssocID="{8F3D69ED-B0AE-4728-88F2-840A920A278C}" presName="Child" presStyleLbl="revTx" presStyleIdx="10" presStyleCnt="14">
        <dgm:presLayoutVars>
          <dgm:chMax val="0"/>
          <dgm:chPref val="0"/>
          <dgm:bulletEnabled val="1"/>
        </dgm:presLayoutVars>
      </dgm:prSet>
      <dgm:spPr/>
      <dgm:t>
        <a:bodyPr/>
        <a:lstStyle/>
        <a:p>
          <a:endParaRPr lang="en-AU"/>
        </a:p>
      </dgm:t>
    </dgm:pt>
    <dgm:pt modelId="{C943FAEF-F7F7-4883-A2CB-25E346068078}" type="pres">
      <dgm:prSet presAssocID="{DEA1E877-7A4C-4357-AFEF-D7DF56213B34}" presName="childComposite" presStyleCnt="0">
        <dgm:presLayoutVars>
          <dgm:chMax val="0"/>
          <dgm:chPref val="0"/>
        </dgm:presLayoutVars>
      </dgm:prSet>
      <dgm:spPr/>
    </dgm:pt>
    <dgm:pt modelId="{60BE5BA7-BC56-4FD0-85D5-35E23CAD2399}" type="pres">
      <dgm:prSet presAssocID="{DEA1E877-7A4C-4357-AFEF-D7DF56213B34}" presName="ChildAccent" presStyleLbl="solidFgAcc1" presStyleIdx="9" presStyleCnt="12"/>
      <dgm:spPr>
        <a:ln>
          <a:solidFill>
            <a:schemeClr val="tx1"/>
          </a:solidFill>
        </a:ln>
      </dgm:spPr>
    </dgm:pt>
    <dgm:pt modelId="{45C76C04-004B-410D-A103-E7142BC83B7E}" type="pres">
      <dgm:prSet presAssocID="{DEA1E877-7A4C-4357-AFEF-D7DF56213B34}" presName="Child" presStyleLbl="revTx" presStyleIdx="11" presStyleCnt="14">
        <dgm:presLayoutVars>
          <dgm:chMax val="0"/>
          <dgm:chPref val="0"/>
          <dgm:bulletEnabled val="1"/>
        </dgm:presLayoutVars>
      </dgm:prSet>
      <dgm:spPr/>
      <dgm:t>
        <a:bodyPr/>
        <a:lstStyle/>
        <a:p>
          <a:endParaRPr lang="en-AU"/>
        </a:p>
      </dgm:t>
    </dgm:pt>
    <dgm:pt modelId="{9EA6119A-94AF-4247-AEE0-0DAF62AA8CFF}" type="pres">
      <dgm:prSet presAssocID="{DC674C89-A12A-440D-9560-5FA5C222E7F3}" presName="childComposite" presStyleCnt="0">
        <dgm:presLayoutVars>
          <dgm:chMax val="0"/>
          <dgm:chPref val="0"/>
        </dgm:presLayoutVars>
      </dgm:prSet>
      <dgm:spPr/>
    </dgm:pt>
    <dgm:pt modelId="{5202C56F-EEFA-4ED8-9D25-AE493EEBB602}" type="pres">
      <dgm:prSet presAssocID="{DC674C89-A12A-440D-9560-5FA5C222E7F3}" presName="ChildAccent" presStyleLbl="solidFgAcc1" presStyleIdx="10" presStyleCnt="12"/>
      <dgm:spPr>
        <a:ln>
          <a:solidFill>
            <a:schemeClr val="tx1"/>
          </a:solidFill>
        </a:ln>
      </dgm:spPr>
    </dgm:pt>
    <dgm:pt modelId="{96E296A8-F9CB-47D8-909C-DA67DF699883}" type="pres">
      <dgm:prSet presAssocID="{DC674C89-A12A-440D-9560-5FA5C222E7F3}" presName="Child" presStyleLbl="revTx" presStyleIdx="12" presStyleCnt="14">
        <dgm:presLayoutVars>
          <dgm:chMax val="0"/>
          <dgm:chPref val="0"/>
          <dgm:bulletEnabled val="1"/>
        </dgm:presLayoutVars>
      </dgm:prSet>
      <dgm:spPr/>
      <dgm:t>
        <a:bodyPr/>
        <a:lstStyle/>
        <a:p>
          <a:endParaRPr lang="en-AU"/>
        </a:p>
      </dgm:t>
    </dgm:pt>
    <dgm:pt modelId="{E534DE04-85F5-4941-A6A8-F0BD814F0016}" type="pres">
      <dgm:prSet presAssocID="{1C4AA1D6-446A-4931-9964-3E8C5A25FDAD}" presName="childComposite" presStyleCnt="0">
        <dgm:presLayoutVars>
          <dgm:chMax val="0"/>
          <dgm:chPref val="0"/>
        </dgm:presLayoutVars>
      </dgm:prSet>
      <dgm:spPr/>
    </dgm:pt>
    <dgm:pt modelId="{675BDB46-BBC9-450E-9245-446A028BC159}" type="pres">
      <dgm:prSet presAssocID="{1C4AA1D6-446A-4931-9964-3E8C5A25FDAD}" presName="ChildAccent" presStyleLbl="solidFgAcc1" presStyleIdx="11" presStyleCnt="12"/>
      <dgm:spPr>
        <a:ln>
          <a:solidFill>
            <a:schemeClr val="tx1"/>
          </a:solidFill>
        </a:ln>
      </dgm:spPr>
    </dgm:pt>
    <dgm:pt modelId="{5BE43802-B562-4436-B0B1-8E4828D45772}" type="pres">
      <dgm:prSet presAssocID="{1C4AA1D6-446A-4931-9964-3E8C5A25FDAD}" presName="Child" presStyleLbl="revTx" presStyleIdx="13" presStyleCnt="14">
        <dgm:presLayoutVars>
          <dgm:chMax val="0"/>
          <dgm:chPref val="0"/>
          <dgm:bulletEnabled val="1"/>
        </dgm:presLayoutVars>
      </dgm:prSet>
      <dgm:spPr/>
      <dgm:t>
        <a:bodyPr/>
        <a:lstStyle/>
        <a:p>
          <a:endParaRPr lang="en-AU"/>
        </a:p>
      </dgm:t>
    </dgm:pt>
  </dgm:ptLst>
  <dgm:cxnLst>
    <dgm:cxn modelId="{7C4C4649-10EB-45B3-ACDF-2709DDF83744}" type="presOf" srcId="{2E23B7AE-554E-4C0B-8EF1-07CD2C14807A}" destId="{CF21CD4E-F29E-4366-B9A0-792125F6CD5D}" srcOrd="0" destOrd="0" presId="urn:microsoft.com/office/officeart/2008/layout/SquareAccentList"/>
    <dgm:cxn modelId="{17C9314F-4430-4264-928A-2174D11468E5}" type="presOf" srcId="{8F3D69ED-B0AE-4728-88F2-840A920A278C}" destId="{6169BD50-BFCE-4C03-B188-4626FA964331}" srcOrd="0" destOrd="0" presId="urn:microsoft.com/office/officeart/2008/layout/SquareAccentList"/>
    <dgm:cxn modelId="{28DCA56D-A6AD-4F60-A9DD-DB2B37D4D72E}" type="presOf" srcId="{1C4AA1D6-446A-4931-9964-3E8C5A25FDAD}" destId="{5BE43802-B562-4436-B0B1-8E4828D45772}" srcOrd="0" destOrd="0" presId="urn:microsoft.com/office/officeart/2008/layout/SquareAccentList"/>
    <dgm:cxn modelId="{D7F78678-177D-4933-8A8F-D52F135FDA9B}" type="presOf" srcId="{532E6B4C-DE67-4EBD-A462-F6A3C564F4B4}" destId="{865C6E9D-57E4-45CF-A641-3DBE9A42BE06}" srcOrd="0" destOrd="0" presId="urn:microsoft.com/office/officeart/2008/layout/SquareAccentList"/>
    <dgm:cxn modelId="{C8FD4420-BE32-4ACD-9BAC-D4153CD0348E}" srcId="{1C30CB34-2FD9-4D6F-832E-552098BED460}" destId="{92169209-6A1A-4811-A707-6C5E2C83F687}" srcOrd="1" destOrd="0" parTransId="{157612A8-E040-4678-82D4-080AFA6D0426}" sibTransId="{B6B84768-7E8D-41BA-8A8E-592A8DDEEAEA}"/>
    <dgm:cxn modelId="{F981707E-6203-4E56-9D42-8C8091653FB0}" type="presOf" srcId="{BDFFC6E2-9A40-4404-9612-6D0D43EF8EEA}" destId="{66643486-E055-4213-9887-4D2B40F6DEFE}" srcOrd="0" destOrd="0" presId="urn:microsoft.com/office/officeart/2008/layout/SquareAccentList"/>
    <dgm:cxn modelId="{4C9121A7-D52A-42C1-B655-D9901AF2F1E6}" srcId="{2E23B7AE-554E-4C0B-8EF1-07CD2C14807A}" destId="{532E6B4C-DE67-4EBD-A462-F6A3C564F4B4}" srcOrd="4" destOrd="0" parTransId="{47EF8394-E566-493B-B8A5-7FCEC3FC2D60}" sibTransId="{5992EFC7-6D28-4856-8C74-D54AD979188A}"/>
    <dgm:cxn modelId="{16DBFCC6-5F31-4660-909F-6A75AB8E7F39}" srcId="{1C30CB34-2FD9-4D6F-832E-552098BED460}" destId="{1C4AA1D6-446A-4931-9964-3E8C5A25FDAD}" srcOrd="5" destOrd="0" parTransId="{F34AA909-BC47-400C-8263-94B3CAF9E3BF}" sibTransId="{7998DD68-F119-4252-A0F0-AE493316DC8A}"/>
    <dgm:cxn modelId="{4C4CF6A7-4277-4DC8-8F0D-18C2C3D81B90}" srcId="{2E23B7AE-554E-4C0B-8EF1-07CD2C14807A}" destId="{6B14D0A8-2E95-462B-A969-A23F330EFE1F}" srcOrd="5" destOrd="0" parTransId="{FA0BA254-F7ED-4685-B7E1-4B4BA6651EAB}" sibTransId="{3B490076-392C-4ACE-A671-1EBA43CE36E1}"/>
    <dgm:cxn modelId="{3754FB2A-7EEE-4296-A1F8-484922EF2D4B}" srcId="{A18FA761-0203-47F2-92CD-4C3851370B32}" destId="{2E23B7AE-554E-4C0B-8EF1-07CD2C14807A}" srcOrd="0" destOrd="0" parTransId="{0ACB032A-DF8F-4E10-A5C1-0FA8E88AC49E}" sibTransId="{0A0EC35B-F034-4CCE-AF8F-F350F0C0B10B}"/>
    <dgm:cxn modelId="{9348BD56-71F6-4AA4-9D50-E864D0E9540C}" srcId="{1C30CB34-2FD9-4D6F-832E-552098BED460}" destId="{8F3D69ED-B0AE-4728-88F2-840A920A278C}" srcOrd="2" destOrd="0" parTransId="{32356A77-64AE-424D-B273-DB7D6943C5C5}" sibTransId="{78D2C690-4B1B-41F9-96FC-086D131202BE}"/>
    <dgm:cxn modelId="{750A3B92-9C08-411D-A1F6-A992AB691573}" type="presOf" srcId="{307F89A6-A8F4-436C-A40C-B923353FEAF7}" destId="{BC54D025-F2CA-4A11-8E61-32C4E4C97E8A}" srcOrd="0" destOrd="0" presId="urn:microsoft.com/office/officeart/2008/layout/SquareAccentList"/>
    <dgm:cxn modelId="{80C9701B-BE10-4EC7-842D-A7464D179D1A}" type="presOf" srcId="{DC674C89-A12A-440D-9560-5FA5C222E7F3}" destId="{96E296A8-F9CB-47D8-909C-DA67DF699883}" srcOrd="0" destOrd="0" presId="urn:microsoft.com/office/officeart/2008/layout/SquareAccentList"/>
    <dgm:cxn modelId="{14C7A707-1EF3-408C-BF54-300D79F23ACD}" srcId="{1C30CB34-2FD9-4D6F-832E-552098BED460}" destId="{E8A11B46-9B02-4BC1-B479-44F3D377901E}" srcOrd="0" destOrd="0" parTransId="{86858A4E-FBE4-41DE-A992-E7F3D9B9BB9B}" sibTransId="{C48F0104-60D6-4E3B-90A6-D2A435B4FD8A}"/>
    <dgm:cxn modelId="{07D5B3CC-1A8B-40FE-B89E-93B3C73DCF70}" srcId="{1C30CB34-2FD9-4D6F-832E-552098BED460}" destId="{DEA1E877-7A4C-4357-AFEF-D7DF56213B34}" srcOrd="3" destOrd="0" parTransId="{8471A7F4-C4E4-45D9-986E-E440C3D1303E}" sibTransId="{2099ABD8-F708-45AA-97CC-9824FBD2EEC8}"/>
    <dgm:cxn modelId="{A1794B79-ECAE-4D44-9571-1E501BDE55FD}" type="presOf" srcId="{802B5523-85CF-4466-A96C-55E6A563C3F5}" destId="{5A9DA645-9CC8-4734-9571-39BEC0C1A46D}" srcOrd="0" destOrd="0" presId="urn:microsoft.com/office/officeart/2008/layout/SquareAccentList"/>
    <dgm:cxn modelId="{1543B30D-2964-4B44-9A8F-7134F391D8CF}" type="presOf" srcId="{E8A11B46-9B02-4BC1-B479-44F3D377901E}" destId="{9F7B0E26-FD90-4E05-ADEA-AE92E100898A}" srcOrd="0" destOrd="0" presId="urn:microsoft.com/office/officeart/2008/layout/SquareAccentList"/>
    <dgm:cxn modelId="{822BE2A9-9E63-4B5B-8101-2797FA57C29B}" srcId="{2E23B7AE-554E-4C0B-8EF1-07CD2C14807A}" destId="{BDFFC6E2-9A40-4404-9612-6D0D43EF8EEA}" srcOrd="2" destOrd="0" parTransId="{4B80EECF-900E-4700-8BED-491D3B0496D8}" sibTransId="{4E21EE54-DD5A-4A7E-8BC0-CDE04EB87DD7}"/>
    <dgm:cxn modelId="{F9AB0F1D-B40C-49D3-A24A-8154CA9A5C9E}" type="presOf" srcId="{D37EBCAE-8175-4C39-B20E-288A7DF04126}" destId="{596B3353-2E71-4F6F-AA31-D0E9B16202E7}" srcOrd="0" destOrd="0" presId="urn:microsoft.com/office/officeart/2008/layout/SquareAccentList"/>
    <dgm:cxn modelId="{B5DF019D-C583-4993-A8CD-F921BF9EDFB3}" type="presOf" srcId="{1C30CB34-2FD9-4D6F-832E-552098BED460}" destId="{AC1B8FBC-CDCE-4813-B265-40DE9DE62D2D}" srcOrd="0" destOrd="0" presId="urn:microsoft.com/office/officeart/2008/layout/SquareAccentList"/>
    <dgm:cxn modelId="{DA0D9F21-1695-4747-879D-DECF0A801E61}" srcId="{2E23B7AE-554E-4C0B-8EF1-07CD2C14807A}" destId="{D37EBCAE-8175-4C39-B20E-288A7DF04126}" srcOrd="3" destOrd="0" parTransId="{117564BC-95F2-422C-AF49-0AC5D4B93C5A}" sibTransId="{5178DADC-5E8D-4023-886D-58B61FB1B480}"/>
    <dgm:cxn modelId="{D4F0ABC3-2536-42D3-8679-1CF4C05E0483}" srcId="{2E23B7AE-554E-4C0B-8EF1-07CD2C14807A}" destId="{802B5523-85CF-4466-A96C-55E6A563C3F5}" srcOrd="0" destOrd="0" parTransId="{2DA364C5-9CC4-4149-A1CD-D93EBAB5AC68}" sibTransId="{755B9C50-8D54-4369-AAC3-3A5696B8AF2D}"/>
    <dgm:cxn modelId="{5E8192E3-A779-4299-84C4-05D4D46DF0BC}" type="presOf" srcId="{DEA1E877-7A4C-4357-AFEF-D7DF56213B34}" destId="{45C76C04-004B-410D-A103-E7142BC83B7E}" srcOrd="0" destOrd="0" presId="urn:microsoft.com/office/officeart/2008/layout/SquareAccentList"/>
    <dgm:cxn modelId="{C6E16167-9636-4301-8A13-3B601181EAA4}" type="presOf" srcId="{A18FA761-0203-47F2-92CD-4C3851370B32}" destId="{1A7820C3-FB04-432E-B2BE-8A86FB541E37}" srcOrd="0" destOrd="0" presId="urn:microsoft.com/office/officeart/2008/layout/SquareAccentList"/>
    <dgm:cxn modelId="{B80933BF-9F13-4A92-BED6-A22980C49C35}" type="presOf" srcId="{6B14D0A8-2E95-462B-A969-A23F330EFE1F}" destId="{4A9E779B-F279-4CFD-B45E-28D9F2CF009C}" srcOrd="0" destOrd="0" presId="urn:microsoft.com/office/officeart/2008/layout/SquareAccentList"/>
    <dgm:cxn modelId="{100C1F1D-38DA-4F98-BB98-BD2EF696ADF9}" srcId="{2E23B7AE-554E-4C0B-8EF1-07CD2C14807A}" destId="{307F89A6-A8F4-436C-A40C-B923353FEAF7}" srcOrd="1" destOrd="0" parTransId="{9AE7780F-FB0F-4BDA-898F-2E610C0F5A06}" sibTransId="{2275FE07-3B90-419E-B5AF-AAE266EF5DB7}"/>
    <dgm:cxn modelId="{02566A44-3B6A-4B85-8755-229F4F5E20F5}" type="presOf" srcId="{92169209-6A1A-4811-A707-6C5E2C83F687}" destId="{47D320DB-F4FB-400C-9640-7844DE720301}" srcOrd="0" destOrd="0" presId="urn:microsoft.com/office/officeart/2008/layout/SquareAccentList"/>
    <dgm:cxn modelId="{4803F5B0-AA5B-4506-8951-7A055362FB69}" srcId="{A18FA761-0203-47F2-92CD-4C3851370B32}" destId="{1C30CB34-2FD9-4D6F-832E-552098BED460}" srcOrd="1" destOrd="0" parTransId="{8083E3CC-C11F-407E-A09D-1DDFD60DF56A}" sibTransId="{BABDC75A-80FA-446E-A632-3922061F13E5}"/>
    <dgm:cxn modelId="{48A1380E-55E6-4312-BA7F-CB007AD51A5B}" srcId="{1C30CB34-2FD9-4D6F-832E-552098BED460}" destId="{DC674C89-A12A-440D-9560-5FA5C222E7F3}" srcOrd="4" destOrd="0" parTransId="{C00ED106-BB64-4F98-A1C9-0ADC590E2120}" sibTransId="{30917D6E-4CCA-42A4-8DC1-04AC62583DE4}"/>
    <dgm:cxn modelId="{9A48F0C3-606E-47C2-AD75-5936EDF2B7B3}" type="presParOf" srcId="{1A7820C3-FB04-432E-B2BE-8A86FB541E37}" destId="{EF5A1DAF-85E1-4EBC-AF06-043A0073B602}" srcOrd="0" destOrd="0" presId="urn:microsoft.com/office/officeart/2008/layout/SquareAccentList"/>
    <dgm:cxn modelId="{A0F4614E-584D-4159-9815-AD3EA75302F3}" type="presParOf" srcId="{EF5A1DAF-85E1-4EBC-AF06-043A0073B602}" destId="{D36E24FB-ABB3-4593-81D1-1055CE6E9B55}" srcOrd="0" destOrd="0" presId="urn:microsoft.com/office/officeart/2008/layout/SquareAccentList"/>
    <dgm:cxn modelId="{8FF89525-E26F-4C0B-802B-DA6A22AB95C9}" type="presParOf" srcId="{D36E24FB-ABB3-4593-81D1-1055CE6E9B55}" destId="{BCF66960-7C93-4093-9025-E0DF5DD335BF}" srcOrd="0" destOrd="0" presId="urn:microsoft.com/office/officeart/2008/layout/SquareAccentList"/>
    <dgm:cxn modelId="{4C898BFF-9941-422E-9085-66A9E02E7016}" type="presParOf" srcId="{D36E24FB-ABB3-4593-81D1-1055CE6E9B55}" destId="{0D0F21F2-7ED3-4B50-A8F6-F579CE5A5759}" srcOrd="1" destOrd="0" presId="urn:microsoft.com/office/officeart/2008/layout/SquareAccentList"/>
    <dgm:cxn modelId="{4F5BB9B5-E616-4D7F-B689-2023A1525470}" type="presParOf" srcId="{D36E24FB-ABB3-4593-81D1-1055CE6E9B55}" destId="{CF21CD4E-F29E-4366-B9A0-792125F6CD5D}" srcOrd="2" destOrd="0" presId="urn:microsoft.com/office/officeart/2008/layout/SquareAccentList"/>
    <dgm:cxn modelId="{78BB6921-CDF1-455A-BDC9-5A9B16E1B37D}" type="presParOf" srcId="{EF5A1DAF-85E1-4EBC-AF06-043A0073B602}" destId="{02871FB3-838D-482E-A5E2-12B1EEF16BC3}" srcOrd="1" destOrd="0" presId="urn:microsoft.com/office/officeart/2008/layout/SquareAccentList"/>
    <dgm:cxn modelId="{4EB326B7-89D2-442D-ADDE-6C64612180AD}" type="presParOf" srcId="{02871FB3-838D-482E-A5E2-12B1EEF16BC3}" destId="{2E1ED3C0-45A4-495C-B866-8846FECC818A}" srcOrd="0" destOrd="0" presId="urn:microsoft.com/office/officeart/2008/layout/SquareAccentList"/>
    <dgm:cxn modelId="{617E6173-287B-4D52-A75B-2AD0FACA962E}" type="presParOf" srcId="{2E1ED3C0-45A4-495C-B866-8846FECC818A}" destId="{A818A80A-A3CE-453B-9935-5332AEAA594C}" srcOrd="0" destOrd="0" presId="urn:microsoft.com/office/officeart/2008/layout/SquareAccentList"/>
    <dgm:cxn modelId="{196ECE37-521A-4E5D-95F6-FD4F7DBE38CF}" type="presParOf" srcId="{2E1ED3C0-45A4-495C-B866-8846FECC818A}" destId="{5A9DA645-9CC8-4734-9571-39BEC0C1A46D}" srcOrd="1" destOrd="0" presId="urn:microsoft.com/office/officeart/2008/layout/SquareAccentList"/>
    <dgm:cxn modelId="{E96EE351-1885-4401-8D20-DBE041CF343D}" type="presParOf" srcId="{02871FB3-838D-482E-A5E2-12B1EEF16BC3}" destId="{C991B8E5-84A5-4944-8373-4F1FDBDBD3BC}" srcOrd="1" destOrd="0" presId="urn:microsoft.com/office/officeart/2008/layout/SquareAccentList"/>
    <dgm:cxn modelId="{5C8D4C68-8C34-423A-9646-593811ED548B}" type="presParOf" srcId="{C991B8E5-84A5-4944-8373-4F1FDBDBD3BC}" destId="{1202E27E-BBC6-4D1C-8670-4C358625924B}" srcOrd="0" destOrd="0" presId="urn:microsoft.com/office/officeart/2008/layout/SquareAccentList"/>
    <dgm:cxn modelId="{5CBC0A3D-FDF1-46D2-82BC-66E12A4F8CB9}" type="presParOf" srcId="{C991B8E5-84A5-4944-8373-4F1FDBDBD3BC}" destId="{BC54D025-F2CA-4A11-8E61-32C4E4C97E8A}" srcOrd="1" destOrd="0" presId="urn:microsoft.com/office/officeart/2008/layout/SquareAccentList"/>
    <dgm:cxn modelId="{FF5881B2-4309-48C2-82B0-CFB06BB6A3B6}" type="presParOf" srcId="{02871FB3-838D-482E-A5E2-12B1EEF16BC3}" destId="{FFF75A41-88A5-432E-A4E8-88D8FE29BF10}" srcOrd="2" destOrd="0" presId="urn:microsoft.com/office/officeart/2008/layout/SquareAccentList"/>
    <dgm:cxn modelId="{A0ECFA6F-C06E-430F-959A-C2E8DB3B43C5}" type="presParOf" srcId="{FFF75A41-88A5-432E-A4E8-88D8FE29BF10}" destId="{D55DF152-C207-4F1B-9844-3D59D9497080}" srcOrd="0" destOrd="0" presId="urn:microsoft.com/office/officeart/2008/layout/SquareAccentList"/>
    <dgm:cxn modelId="{26290F4E-8398-4347-8C4A-0847FDC6254E}" type="presParOf" srcId="{FFF75A41-88A5-432E-A4E8-88D8FE29BF10}" destId="{66643486-E055-4213-9887-4D2B40F6DEFE}" srcOrd="1" destOrd="0" presId="urn:microsoft.com/office/officeart/2008/layout/SquareAccentList"/>
    <dgm:cxn modelId="{A039C23A-CB93-4D18-837D-43B104AF4076}" type="presParOf" srcId="{02871FB3-838D-482E-A5E2-12B1EEF16BC3}" destId="{7BB77BF3-3479-4F71-BF16-43C4F0A934D5}" srcOrd="3" destOrd="0" presId="urn:microsoft.com/office/officeart/2008/layout/SquareAccentList"/>
    <dgm:cxn modelId="{71C97EA0-A365-4CF5-BEB3-4763BEA8D032}" type="presParOf" srcId="{7BB77BF3-3479-4F71-BF16-43C4F0A934D5}" destId="{52805823-34A6-4B1A-935C-9F26DE1373D4}" srcOrd="0" destOrd="0" presId="urn:microsoft.com/office/officeart/2008/layout/SquareAccentList"/>
    <dgm:cxn modelId="{BAE2E5DA-0772-48C7-9A51-19344219F27C}" type="presParOf" srcId="{7BB77BF3-3479-4F71-BF16-43C4F0A934D5}" destId="{596B3353-2E71-4F6F-AA31-D0E9B16202E7}" srcOrd="1" destOrd="0" presId="urn:microsoft.com/office/officeart/2008/layout/SquareAccentList"/>
    <dgm:cxn modelId="{8932C534-E901-4B46-98DD-78AB574E2370}" type="presParOf" srcId="{02871FB3-838D-482E-A5E2-12B1EEF16BC3}" destId="{D7F24195-C71C-45AE-8283-5772D1E4BC7B}" srcOrd="4" destOrd="0" presId="urn:microsoft.com/office/officeart/2008/layout/SquareAccentList"/>
    <dgm:cxn modelId="{23EA2890-22A7-4BF4-94CA-E66D50D5E1ED}" type="presParOf" srcId="{D7F24195-C71C-45AE-8283-5772D1E4BC7B}" destId="{573C3947-B1FC-4F32-AB64-9C66E7AA3FC3}" srcOrd="0" destOrd="0" presId="urn:microsoft.com/office/officeart/2008/layout/SquareAccentList"/>
    <dgm:cxn modelId="{6A0FFD23-486C-4EB5-9041-BFE7166BB0F6}" type="presParOf" srcId="{D7F24195-C71C-45AE-8283-5772D1E4BC7B}" destId="{865C6E9D-57E4-45CF-A641-3DBE9A42BE06}" srcOrd="1" destOrd="0" presId="urn:microsoft.com/office/officeart/2008/layout/SquareAccentList"/>
    <dgm:cxn modelId="{11726DFA-02B7-4215-ACB5-08C701CE7551}" type="presParOf" srcId="{02871FB3-838D-482E-A5E2-12B1EEF16BC3}" destId="{767FFF0C-9F4A-4360-99D4-2BF78696B264}" srcOrd="5" destOrd="0" presId="urn:microsoft.com/office/officeart/2008/layout/SquareAccentList"/>
    <dgm:cxn modelId="{08372AEC-EF7A-4427-99D8-97486CE47A23}" type="presParOf" srcId="{767FFF0C-9F4A-4360-99D4-2BF78696B264}" destId="{CD8F7CF8-4E1F-467C-9FA9-B6D40B0DF39F}" srcOrd="0" destOrd="0" presId="urn:microsoft.com/office/officeart/2008/layout/SquareAccentList"/>
    <dgm:cxn modelId="{07F28B14-C704-45DB-B19E-D8639A92C2EC}" type="presParOf" srcId="{767FFF0C-9F4A-4360-99D4-2BF78696B264}" destId="{4A9E779B-F279-4CFD-B45E-28D9F2CF009C}" srcOrd="1" destOrd="0" presId="urn:microsoft.com/office/officeart/2008/layout/SquareAccentList"/>
    <dgm:cxn modelId="{A44C6A4B-56A1-4387-96DC-A8DE18C09F70}" type="presParOf" srcId="{1A7820C3-FB04-432E-B2BE-8A86FB541E37}" destId="{05C0C886-C9AB-4332-965D-30C417650D03}" srcOrd="1" destOrd="0" presId="urn:microsoft.com/office/officeart/2008/layout/SquareAccentList"/>
    <dgm:cxn modelId="{E4899B3E-8572-400C-8D3B-C0EC1AE59DBC}" type="presParOf" srcId="{05C0C886-C9AB-4332-965D-30C417650D03}" destId="{72523DCC-7EF7-49B4-ADA2-4AE66D177806}" srcOrd="0" destOrd="0" presId="urn:microsoft.com/office/officeart/2008/layout/SquareAccentList"/>
    <dgm:cxn modelId="{4F7C39B5-4F0A-42EB-913A-5C6F94F9AE01}" type="presParOf" srcId="{72523DCC-7EF7-49B4-ADA2-4AE66D177806}" destId="{C35CF644-C76D-44BA-8AF7-F1CA570219E2}" srcOrd="0" destOrd="0" presId="urn:microsoft.com/office/officeart/2008/layout/SquareAccentList"/>
    <dgm:cxn modelId="{AD3BEDE6-8888-4A2A-957A-A82972EAFC5B}" type="presParOf" srcId="{72523DCC-7EF7-49B4-ADA2-4AE66D177806}" destId="{932392F0-BF2B-4290-84FF-D362792C1E94}" srcOrd="1" destOrd="0" presId="urn:microsoft.com/office/officeart/2008/layout/SquareAccentList"/>
    <dgm:cxn modelId="{08CAF03D-8E29-47CB-8333-EA8F392B0479}" type="presParOf" srcId="{72523DCC-7EF7-49B4-ADA2-4AE66D177806}" destId="{AC1B8FBC-CDCE-4813-B265-40DE9DE62D2D}" srcOrd="2" destOrd="0" presId="urn:microsoft.com/office/officeart/2008/layout/SquareAccentList"/>
    <dgm:cxn modelId="{80BCDAC8-F00F-4F1A-9879-80A5701C2693}" type="presParOf" srcId="{05C0C886-C9AB-4332-965D-30C417650D03}" destId="{F05298E7-189D-4290-89FF-7C0711796E9B}" srcOrd="1" destOrd="0" presId="urn:microsoft.com/office/officeart/2008/layout/SquareAccentList"/>
    <dgm:cxn modelId="{EA8FA1ED-75A5-4EFA-8C9A-CB6A52ED4DC6}" type="presParOf" srcId="{F05298E7-189D-4290-89FF-7C0711796E9B}" destId="{F17504B0-7C60-4969-ADD4-F248C3919ED9}" srcOrd="0" destOrd="0" presId="urn:microsoft.com/office/officeart/2008/layout/SquareAccentList"/>
    <dgm:cxn modelId="{6C291CE3-8E97-414A-BF83-EECFFDCC922E}" type="presParOf" srcId="{F17504B0-7C60-4969-ADD4-F248C3919ED9}" destId="{AB8BBE1A-AE53-4BDA-9171-7D6AF60C9AAF}" srcOrd="0" destOrd="0" presId="urn:microsoft.com/office/officeart/2008/layout/SquareAccentList"/>
    <dgm:cxn modelId="{D8647EA8-842C-447F-8F7A-06C68EAD78F3}" type="presParOf" srcId="{F17504B0-7C60-4969-ADD4-F248C3919ED9}" destId="{9F7B0E26-FD90-4E05-ADEA-AE92E100898A}" srcOrd="1" destOrd="0" presId="urn:microsoft.com/office/officeart/2008/layout/SquareAccentList"/>
    <dgm:cxn modelId="{C00E2FFE-3AAF-4A58-AD4E-E90B01ACF616}" type="presParOf" srcId="{F05298E7-189D-4290-89FF-7C0711796E9B}" destId="{F97ECBE5-2BF7-4EF7-B69E-BA502B077F38}" srcOrd="1" destOrd="0" presId="urn:microsoft.com/office/officeart/2008/layout/SquareAccentList"/>
    <dgm:cxn modelId="{0A6BE0FF-5A72-4CDB-AC7E-A76245B7E0F3}" type="presParOf" srcId="{F97ECBE5-2BF7-4EF7-B69E-BA502B077F38}" destId="{3F238400-0B83-4876-B8AE-CA0F0D1CC629}" srcOrd="0" destOrd="0" presId="urn:microsoft.com/office/officeart/2008/layout/SquareAccentList"/>
    <dgm:cxn modelId="{20E4B931-1DCC-4988-ADD1-095E0F09FB71}" type="presParOf" srcId="{F97ECBE5-2BF7-4EF7-B69E-BA502B077F38}" destId="{47D320DB-F4FB-400C-9640-7844DE720301}" srcOrd="1" destOrd="0" presId="urn:microsoft.com/office/officeart/2008/layout/SquareAccentList"/>
    <dgm:cxn modelId="{1C7458DD-B6D8-440D-9281-0F57F4DF380E}" type="presParOf" srcId="{F05298E7-189D-4290-89FF-7C0711796E9B}" destId="{F05BE4BE-12D7-4C32-BCCD-1C1DE1CB888E}" srcOrd="2" destOrd="0" presId="urn:microsoft.com/office/officeart/2008/layout/SquareAccentList"/>
    <dgm:cxn modelId="{7CE97B0E-B0DB-442F-A171-86FBA0E026C8}" type="presParOf" srcId="{F05BE4BE-12D7-4C32-BCCD-1C1DE1CB888E}" destId="{18991E8F-44A8-42C7-9516-CA8369CE552D}" srcOrd="0" destOrd="0" presId="urn:microsoft.com/office/officeart/2008/layout/SquareAccentList"/>
    <dgm:cxn modelId="{E22CCAFE-1F7D-4019-A40C-BB1B311907A1}" type="presParOf" srcId="{F05BE4BE-12D7-4C32-BCCD-1C1DE1CB888E}" destId="{6169BD50-BFCE-4C03-B188-4626FA964331}" srcOrd="1" destOrd="0" presId="urn:microsoft.com/office/officeart/2008/layout/SquareAccentList"/>
    <dgm:cxn modelId="{965DBD70-3CB7-4ABA-BF8F-3C11F84882E2}" type="presParOf" srcId="{F05298E7-189D-4290-89FF-7C0711796E9B}" destId="{C943FAEF-F7F7-4883-A2CB-25E346068078}" srcOrd="3" destOrd="0" presId="urn:microsoft.com/office/officeart/2008/layout/SquareAccentList"/>
    <dgm:cxn modelId="{56E8D965-EC32-4CEF-AF02-08A473847197}" type="presParOf" srcId="{C943FAEF-F7F7-4883-A2CB-25E346068078}" destId="{60BE5BA7-BC56-4FD0-85D5-35E23CAD2399}" srcOrd="0" destOrd="0" presId="urn:microsoft.com/office/officeart/2008/layout/SquareAccentList"/>
    <dgm:cxn modelId="{0865DCFC-FAC4-4004-80CE-FB04A35CAADF}" type="presParOf" srcId="{C943FAEF-F7F7-4883-A2CB-25E346068078}" destId="{45C76C04-004B-410D-A103-E7142BC83B7E}" srcOrd="1" destOrd="0" presId="urn:microsoft.com/office/officeart/2008/layout/SquareAccentList"/>
    <dgm:cxn modelId="{D3306131-ED06-4242-8384-0CA6E5AF5647}" type="presParOf" srcId="{F05298E7-189D-4290-89FF-7C0711796E9B}" destId="{9EA6119A-94AF-4247-AEE0-0DAF62AA8CFF}" srcOrd="4" destOrd="0" presId="urn:microsoft.com/office/officeart/2008/layout/SquareAccentList"/>
    <dgm:cxn modelId="{B607DE4D-2F9A-4F44-AE01-B84623B3F84A}" type="presParOf" srcId="{9EA6119A-94AF-4247-AEE0-0DAF62AA8CFF}" destId="{5202C56F-EEFA-4ED8-9D25-AE493EEBB602}" srcOrd="0" destOrd="0" presId="urn:microsoft.com/office/officeart/2008/layout/SquareAccentList"/>
    <dgm:cxn modelId="{0B918FA8-2DD8-4AE8-926B-E63BD88DC978}" type="presParOf" srcId="{9EA6119A-94AF-4247-AEE0-0DAF62AA8CFF}" destId="{96E296A8-F9CB-47D8-909C-DA67DF699883}" srcOrd="1" destOrd="0" presId="urn:microsoft.com/office/officeart/2008/layout/SquareAccentList"/>
    <dgm:cxn modelId="{61B00B89-4289-41E4-8B13-EE0A5BE6F9E2}" type="presParOf" srcId="{F05298E7-189D-4290-89FF-7C0711796E9B}" destId="{E534DE04-85F5-4941-A6A8-F0BD814F0016}" srcOrd="5" destOrd="0" presId="urn:microsoft.com/office/officeart/2008/layout/SquareAccentList"/>
    <dgm:cxn modelId="{B492D753-D72E-4688-A901-80174CAD1534}" type="presParOf" srcId="{E534DE04-85F5-4941-A6A8-F0BD814F0016}" destId="{675BDB46-BBC9-450E-9245-446A028BC159}" srcOrd="0" destOrd="0" presId="urn:microsoft.com/office/officeart/2008/layout/SquareAccentList"/>
    <dgm:cxn modelId="{22F1FD7B-627A-4F37-B424-CD710AC1A6FA}" type="presParOf" srcId="{E534DE04-85F5-4941-A6A8-F0BD814F0016}" destId="{5BE43802-B562-4436-B0B1-8E4828D45772}"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82EAEF-D51A-4F23-85A3-E6179245B6D9}"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AU"/>
        </a:p>
      </dgm:t>
    </dgm:pt>
    <dgm:pt modelId="{927C9A02-1CE5-4D6A-BBBC-4293C58B1DAF}">
      <dgm:prSet phldrT="[Text]"/>
      <dgm:spPr>
        <a:solidFill>
          <a:schemeClr val="accent2"/>
        </a:solidFill>
      </dgm:spPr>
      <dgm:t>
        <a:bodyPr/>
        <a:lstStyle/>
        <a:p>
          <a:r>
            <a:rPr lang="en-AU" dirty="0" smtClean="0"/>
            <a:t>Accurate safety data</a:t>
          </a:r>
          <a:endParaRPr lang="en-AU" dirty="0"/>
        </a:p>
      </dgm:t>
    </dgm:pt>
    <dgm:pt modelId="{F564DEDC-581C-4B5C-8882-BC21075F04D9}" type="parTrans" cxnId="{64FF7BFD-161E-456B-A958-71F0B06D3F8C}">
      <dgm:prSet/>
      <dgm:spPr/>
      <dgm:t>
        <a:bodyPr/>
        <a:lstStyle/>
        <a:p>
          <a:endParaRPr lang="en-AU"/>
        </a:p>
      </dgm:t>
    </dgm:pt>
    <dgm:pt modelId="{FCCD900C-D955-402D-94F2-37551341926A}" type="sibTrans" cxnId="{64FF7BFD-161E-456B-A958-71F0B06D3F8C}">
      <dgm:prSet/>
      <dgm:spPr/>
      <dgm:t>
        <a:bodyPr/>
        <a:lstStyle/>
        <a:p>
          <a:endParaRPr lang="en-AU"/>
        </a:p>
      </dgm:t>
    </dgm:pt>
    <dgm:pt modelId="{5D110658-BFAC-4E1D-A9FF-B48B5D1ED4FE}">
      <dgm:prSet phldrT="[Text]"/>
      <dgm:spPr>
        <a:solidFill>
          <a:schemeClr val="accent5"/>
        </a:solidFill>
      </dgm:spPr>
      <dgm:t>
        <a:bodyPr/>
        <a:lstStyle/>
        <a:p>
          <a:r>
            <a:rPr lang="en-AU" dirty="0" smtClean="0"/>
            <a:t>Send assessments to enterprise participants</a:t>
          </a:r>
          <a:endParaRPr lang="en-AU" dirty="0"/>
        </a:p>
      </dgm:t>
    </dgm:pt>
    <dgm:pt modelId="{DC62B30E-FEE7-4FAA-8A40-CDA15E084A2F}" type="parTrans" cxnId="{998F61CF-C8A0-4D53-B8A1-6F17D6A11477}">
      <dgm:prSet/>
      <dgm:spPr/>
      <dgm:t>
        <a:bodyPr/>
        <a:lstStyle/>
        <a:p>
          <a:endParaRPr lang="en-AU"/>
        </a:p>
      </dgm:t>
    </dgm:pt>
    <dgm:pt modelId="{D2391D13-E048-4675-94B1-0164A555B064}" type="sibTrans" cxnId="{998F61CF-C8A0-4D53-B8A1-6F17D6A11477}">
      <dgm:prSet/>
      <dgm:spPr>
        <a:solidFill>
          <a:schemeClr val="bg1">
            <a:lumMod val="85000"/>
          </a:schemeClr>
        </a:solidFill>
      </dgm:spPr>
      <dgm:t>
        <a:bodyPr/>
        <a:lstStyle/>
        <a:p>
          <a:endParaRPr lang="en-AU"/>
        </a:p>
      </dgm:t>
    </dgm:pt>
    <dgm:pt modelId="{72CF8F75-401E-43C6-BC3B-58EF7A07A5E0}">
      <dgm:prSet phldrT="[Text]"/>
      <dgm:spPr>
        <a:solidFill>
          <a:schemeClr val="accent5"/>
        </a:solidFill>
      </dgm:spPr>
      <dgm:t>
        <a:bodyPr/>
        <a:lstStyle/>
        <a:p>
          <a:r>
            <a:rPr lang="en-AU" dirty="0" smtClean="0"/>
            <a:t>Generate data</a:t>
          </a:r>
          <a:endParaRPr lang="en-AU" dirty="0"/>
        </a:p>
      </dgm:t>
    </dgm:pt>
    <dgm:pt modelId="{FB1D8A9A-9B80-4BD3-B543-FDF67C36BC53}" type="parTrans" cxnId="{7AE96D7F-8D74-426F-B8BA-EC4C5BD2CA66}">
      <dgm:prSet/>
      <dgm:spPr/>
      <dgm:t>
        <a:bodyPr/>
        <a:lstStyle/>
        <a:p>
          <a:endParaRPr lang="en-AU"/>
        </a:p>
      </dgm:t>
    </dgm:pt>
    <dgm:pt modelId="{8E280382-DA24-4FF1-B727-17BCD8DA181D}" type="sibTrans" cxnId="{7AE96D7F-8D74-426F-B8BA-EC4C5BD2CA66}">
      <dgm:prSet/>
      <dgm:spPr>
        <a:solidFill>
          <a:schemeClr val="bg1">
            <a:lumMod val="85000"/>
          </a:schemeClr>
        </a:solidFill>
      </dgm:spPr>
      <dgm:t>
        <a:bodyPr/>
        <a:lstStyle/>
        <a:p>
          <a:endParaRPr lang="en-AU"/>
        </a:p>
      </dgm:t>
    </dgm:pt>
    <dgm:pt modelId="{655D87DA-C13B-4260-AA02-BDE555EFFF2B}">
      <dgm:prSet phldrT="[Text]"/>
      <dgm:spPr>
        <a:solidFill>
          <a:schemeClr val="accent5"/>
        </a:solidFill>
      </dgm:spPr>
      <dgm:t>
        <a:bodyPr/>
        <a:lstStyle/>
        <a:p>
          <a:r>
            <a:rPr lang="en-AU" dirty="0" smtClean="0"/>
            <a:t>Evaluate data</a:t>
          </a:r>
          <a:endParaRPr lang="en-AU" dirty="0"/>
        </a:p>
      </dgm:t>
    </dgm:pt>
    <dgm:pt modelId="{61D521BE-D3E3-4ADB-B37D-28531E00FDD5}" type="parTrans" cxnId="{761DA31E-4AE3-49A0-B071-789C74E29ED6}">
      <dgm:prSet/>
      <dgm:spPr/>
      <dgm:t>
        <a:bodyPr/>
        <a:lstStyle/>
        <a:p>
          <a:endParaRPr lang="en-AU"/>
        </a:p>
      </dgm:t>
    </dgm:pt>
    <dgm:pt modelId="{D8739E09-05D1-4F01-9642-DB8C39E8CC01}" type="sibTrans" cxnId="{761DA31E-4AE3-49A0-B071-789C74E29ED6}">
      <dgm:prSet/>
      <dgm:spPr>
        <a:solidFill>
          <a:schemeClr val="bg1">
            <a:lumMod val="85000"/>
          </a:schemeClr>
        </a:solidFill>
      </dgm:spPr>
      <dgm:t>
        <a:bodyPr/>
        <a:lstStyle/>
        <a:p>
          <a:endParaRPr lang="en-AU"/>
        </a:p>
      </dgm:t>
    </dgm:pt>
    <dgm:pt modelId="{A6E043CF-E992-49F0-AB1F-F43605122500}">
      <dgm:prSet phldrT="[Text]"/>
      <dgm:spPr>
        <a:solidFill>
          <a:schemeClr val="accent5"/>
        </a:solidFill>
      </dgm:spPr>
      <dgm:t>
        <a:bodyPr/>
        <a:lstStyle/>
        <a:p>
          <a:r>
            <a:rPr lang="en-AU" dirty="0" smtClean="0"/>
            <a:t>Score data</a:t>
          </a:r>
          <a:endParaRPr lang="en-AU" dirty="0"/>
        </a:p>
      </dgm:t>
    </dgm:pt>
    <dgm:pt modelId="{E29C1289-DCA2-4A0E-B238-AE36D56866F9}" type="parTrans" cxnId="{A343C02C-8F4D-475A-BAC0-182F458FECAF}">
      <dgm:prSet/>
      <dgm:spPr/>
      <dgm:t>
        <a:bodyPr/>
        <a:lstStyle/>
        <a:p>
          <a:endParaRPr lang="en-AU"/>
        </a:p>
      </dgm:t>
    </dgm:pt>
    <dgm:pt modelId="{34C3280E-D32D-47A8-8101-7200D254A101}" type="sibTrans" cxnId="{A343C02C-8F4D-475A-BAC0-182F458FECAF}">
      <dgm:prSet/>
      <dgm:spPr>
        <a:solidFill>
          <a:schemeClr val="bg1">
            <a:lumMod val="85000"/>
          </a:schemeClr>
        </a:solidFill>
      </dgm:spPr>
      <dgm:t>
        <a:bodyPr/>
        <a:lstStyle/>
        <a:p>
          <a:endParaRPr lang="en-AU"/>
        </a:p>
      </dgm:t>
    </dgm:pt>
    <dgm:pt modelId="{427D5A6C-1532-4789-83E2-6523254A3BC7}">
      <dgm:prSet phldrT="[Text]"/>
      <dgm:spPr>
        <a:solidFill>
          <a:schemeClr val="accent5"/>
        </a:solidFill>
      </dgm:spPr>
      <dgm:t>
        <a:bodyPr/>
        <a:lstStyle/>
        <a:p>
          <a:r>
            <a:rPr lang="en-AU" dirty="0" smtClean="0"/>
            <a:t>Evaluate agreement among participants</a:t>
          </a:r>
          <a:endParaRPr lang="en-AU" dirty="0"/>
        </a:p>
      </dgm:t>
    </dgm:pt>
    <dgm:pt modelId="{6B46B62E-E905-4091-A703-338B91972318}" type="parTrans" cxnId="{C3E1E6BE-DBC4-4472-AB12-6A77B91BBEDA}">
      <dgm:prSet/>
      <dgm:spPr/>
      <dgm:t>
        <a:bodyPr/>
        <a:lstStyle/>
        <a:p>
          <a:endParaRPr lang="en-AU"/>
        </a:p>
      </dgm:t>
    </dgm:pt>
    <dgm:pt modelId="{88043FD3-0B17-457A-90B7-0136C2DD9D20}" type="sibTrans" cxnId="{C3E1E6BE-DBC4-4472-AB12-6A77B91BBEDA}">
      <dgm:prSet/>
      <dgm:spPr>
        <a:solidFill>
          <a:schemeClr val="bg1">
            <a:lumMod val="85000"/>
          </a:schemeClr>
        </a:solidFill>
      </dgm:spPr>
      <dgm:t>
        <a:bodyPr/>
        <a:lstStyle/>
        <a:p>
          <a:endParaRPr lang="en-AU"/>
        </a:p>
      </dgm:t>
    </dgm:pt>
    <dgm:pt modelId="{C7D8A79A-20FA-4D16-9155-8B68B5503169}" type="pres">
      <dgm:prSet presAssocID="{1782EAEF-D51A-4F23-85A3-E6179245B6D9}" presName="Name0" presStyleCnt="0">
        <dgm:presLayoutVars>
          <dgm:chMax val="1"/>
          <dgm:dir/>
          <dgm:animLvl val="ctr"/>
          <dgm:resizeHandles val="exact"/>
        </dgm:presLayoutVars>
      </dgm:prSet>
      <dgm:spPr/>
      <dgm:t>
        <a:bodyPr/>
        <a:lstStyle/>
        <a:p>
          <a:endParaRPr lang="en-US"/>
        </a:p>
      </dgm:t>
    </dgm:pt>
    <dgm:pt modelId="{893A33FF-EE9C-483A-AD1C-106E203F16B5}" type="pres">
      <dgm:prSet presAssocID="{927C9A02-1CE5-4D6A-BBBC-4293C58B1DAF}" presName="centerShape" presStyleLbl="node0" presStyleIdx="0" presStyleCnt="1"/>
      <dgm:spPr/>
      <dgm:t>
        <a:bodyPr/>
        <a:lstStyle/>
        <a:p>
          <a:endParaRPr lang="en-AU"/>
        </a:p>
      </dgm:t>
    </dgm:pt>
    <dgm:pt modelId="{21B8C31F-12E1-49A2-9E07-A9ABE4D0DCEC}" type="pres">
      <dgm:prSet presAssocID="{5D110658-BFAC-4E1D-A9FF-B48B5D1ED4FE}" presName="node" presStyleLbl="node1" presStyleIdx="0" presStyleCnt="5">
        <dgm:presLayoutVars>
          <dgm:bulletEnabled val="1"/>
        </dgm:presLayoutVars>
      </dgm:prSet>
      <dgm:spPr/>
      <dgm:t>
        <a:bodyPr/>
        <a:lstStyle/>
        <a:p>
          <a:endParaRPr lang="en-AU"/>
        </a:p>
      </dgm:t>
    </dgm:pt>
    <dgm:pt modelId="{31CABC56-6C17-4EFE-8ACD-B0B98AFEEBBB}" type="pres">
      <dgm:prSet presAssocID="{5D110658-BFAC-4E1D-A9FF-B48B5D1ED4FE}" presName="dummy" presStyleCnt="0"/>
      <dgm:spPr/>
    </dgm:pt>
    <dgm:pt modelId="{CB04D655-D16C-41DE-97F1-F06A0C1857E0}" type="pres">
      <dgm:prSet presAssocID="{D2391D13-E048-4675-94B1-0164A555B064}" presName="sibTrans" presStyleLbl="sibTrans2D1" presStyleIdx="0" presStyleCnt="5"/>
      <dgm:spPr/>
      <dgm:t>
        <a:bodyPr/>
        <a:lstStyle/>
        <a:p>
          <a:endParaRPr lang="en-US"/>
        </a:p>
      </dgm:t>
    </dgm:pt>
    <dgm:pt modelId="{3CB70B27-4BB4-487D-8945-E5AA1029969F}" type="pres">
      <dgm:prSet presAssocID="{72CF8F75-401E-43C6-BC3B-58EF7A07A5E0}" presName="node" presStyleLbl="node1" presStyleIdx="1" presStyleCnt="5">
        <dgm:presLayoutVars>
          <dgm:bulletEnabled val="1"/>
        </dgm:presLayoutVars>
      </dgm:prSet>
      <dgm:spPr/>
      <dgm:t>
        <a:bodyPr/>
        <a:lstStyle/>
        <a:p>
          <a:endParaRPr lang="en-US"/>
        </a:p>
      </dgm:t>
    </dgm:pt>
    <dgm:pt modelId="{E1C1D729-D306-49A8-B843-DCB98A153947}" type="pres">
      <dgm:prSet presAssocID="{72CF8F75-401E-43C6-BC3B-58EF7A07A5E0}" presName="dummy" presStyleCnt="0"/>
      <dgm:spPr/>
    </dgm:pt>
    <dgm:pt modelId="{9245B8F4-F6BA-41C4-8EF7-CC85B9D9C2A5}" type="pres">
      <dgm:prSet presAssocID="{8E280382-DA24-4FF1-B727-17BCD8DA181D}" presName="sibTrans" presStyleLbl="sibTrans2D1" presStyleIdx="1" presStyleCnt="5"/>
      <dgm:spPr/>
      <dgm:t>
        <a:bodyPr/>
        <a:lstStyle/>
        <a:p>
          <a:endParaRPr lang="en-US"/>
        </a:p>
      </dgm:t>
    </dgm:pt>
    <dgm:pt modelId="{4E450D07-8CDA-4F31-8D50-85D4321488CB}" type="pres">
      <dgm:prSet presAssocID="{655D87DA-C13B-4260-AA02-BDE555EFFF2B}" presName="node" presStyleLbl="node1" presStyleIdx="2" presStyleCnt="5">
        <dgm:presLayoutVars>
          <dgm:bulletEnabled val="1"/>
        </dgm:presLayoutVars>
      </dgm:prSet>
      <dgm:spPr/>
      <dgm:t>
        <a:bodyPr/>
        <a:lstStyle/>
        <a:p>
          <a:endParaRPr lang="en-US"/>
        </a:p>
      </dgm:t>
    </dgm:pt>
    <dgm:pt modelId="{B78C7BB6-4F27-471C-9312-27B30EBA8804}" type="pres">
      <dgm:prSet presAssocID="{655D87DA-C13B-4260-AA02-BDE555EFFF2B}" presName="dummy" presStyleCnt="0"/>
      <dgm:spPr/>
    </dgm:pt>
    <dgm:pt modelId="{9212203C-EACF-47C7-97D9-1B275770ED48}" type="pres">
      <dgm:prSet presAssocID="{D8739E09-05D1-4F01-9642-DB8C39E8CC01}" presName="sibTrans" presStyleLbl="sibTrans2D1" presStyleIdx="2" presStyleCnt="5"/>
      <dgm:spPr/>
      <dgm:t>
        <a:bodyPr/>
        <a:lstStyle/>
        <a:p>
          <a:endParaRPr lang="en-US"/>
        </a:p>
      </dgm:t>
    </dgm:pt>
    <dgm:pt modelId="{DD0E669D-27F4-4222-83E3-BB86A79F1302}" type="pres">
      <dgm:prSet presAssocID="{A6E043CF-E992-49F0-AB1F-F43605122500}" presName="node" presStyleLbl="node1" presStyleIdx="3" presStyleCnt="5">
        <dgm:presLayoutVars>
          <dgm:bulletEnabled val="1"/>
        </dgm:presLayoutVars>
      </dgm:prSet>
      <dgm:spPr/>
      <dgm:t>
        <a:bodyPr/>
        <a:lstStyle/>
        <a:p>
          <a:endParaRPr lang="en-US"/>
        </a:p>
      </dgm:t>
    </dgm:pt>
    <dgm:pt modelId="{E49AD146-C4DE-4AD9-AEEE-880E03560913}" type="pres">
      <dgm:prSet presAssocID="{A6E043CF-E992-49F0-AB1F-F43605122500}" presName="dummy" presStyleCnt="0"/>
      <dgm:spPr/>
    </dgm:pt>
    <dgm:pt modelId="{5AFD5D71-6F60-4275-A93C-4D60AC01EEC9}" type="pres">
      <dgm:prSet presAssocID="{34C3280E-D32D-47A8-8101-7200D254A101}" presName="sibTrans" presStyleLbl="sibTrans2D1" presStyleIdx="3" presStyleCnt="5"/>
      <dgm:spPr/>
      <dgm:t>
        <a:bodyPr/>
        <a:lstStyle/>
        <a:p>
          <a:endParaRPr lang="en-US"/>
        </a:p>
      </dgm:t>
    </dgm:pt>
    <dgm:pt modelId="{9E46E289-86C8-4DAF-BA13-A82C9A065C8A}" type="pres">
      <dgm:prSet presAssocID="{427D5A6C-1532-4789-83E2-6523254A3BC7}" presName="node" presStyleLbl="node1" presStyleIdx="4" presStyleCnt="5">
        <dgm:presLayoutVars>
          <dgm:bulletEnabled val="1"/>
        </dgm:presLayoutVars>
      </dgm:prSet>
      <dgm:spPr/>
      <dgm:t>
        <a:bodyPr/>
        <a:lstStyle/>
        <a:p>
          <a:endParaRPr lang="en-AU"/>
        </a:p>
      </dgm:t>
    </dgm:pt>
    <dgm:pt modelId="{997677B9-174D-4DFA-BDD2-6BB076AA6EB8}" type="pres">
      <dgm:prSet presAssocID="{427D5A6C-1532-4789-83E2-6523254A3BC7}" presName="dummy" presStyleCnt="0"/>
      <dgm:spPr/>
    </dgm:pt>
    <dgm:pt modelId="{C2420FA9-B8C9-4643-B642-075A7D0FCEAF}" type="pres">
      <dgm:prSet presAssocID="{88043FD3-0B17-457A-90B7-0136C2DD9D20}" presName="sibTrans" presStyleLbl="sibTrans2D1" presStyleIdx="4" presStyleCnt="5"/>
      <dgm:spPr/>
      <dgm:t>
        <a:bodyPr/>
        <a:lstStyle/>
        <a:p>
          <a:endParaRPr lang="en-US"/>
        </a:p>
      </dgm:t>
    </dgm:pt>
  </dgm:ptLst>
  <dgm:cxnLst>
    <dgm:cxn modelId="{A343C02C-8F4D-475A-BAC0-182F458FECAF}" srcId="{927C9A02-1CE5-4D6A-BBBC-4293C58B1DAF}" destId="{A6E043CF-E992-49F0-AB1F-F43605122500}" srcOrd="3" destOrd="0" parTransId="{E29C1289-DCA2-4A0E-B238-AE36D56866F9}" sibTransId="{34C3280E-D32D-47A8-8101-7200D254A101}"/>
    <dgm:cxn modelId="{998F61CF-C8A0-4D53-B8A1-6F17D6A11477}" srcId="{927C9A02-1CE5-4D6A-BBBC-4293C58B1DAF}" destId="{5D110658-BFAC-4E1D-A9FF-B48B5D1ED4FE}" srcOrd="0" destOrd="0" parTransId="{DC62B30E-FEE7-4FAA-8A40-CDA15E084A2F}" sibTransId="{D2391D13-E048-4675-94B1-0164A555B064}"/>
    <dgm:cxn modelId="{B23D2007-4B17-441F-9998-106F00221570}" type="presOf" srcId="{72CF8F75-401E-43C6-BC3B-58EF7A07A5E0}" destId="{3CB70B27-4BB4-487D-8945-E5AA1029969F}" srcOrd="0" destOrd="0" presId="urn:microsoft.com/office/officeart/2005/8/layout/radial6"/>
    <dgm:cxn modelId="{64FF7BFD-161E-456B-A958-71F0B06D3F8C}" srcId="{1782EAEF-D51A-4F23-85A3-E6179245B6D9}" destId="{927C9A02-1CE5-4D6A-BBBC-4293C58B1DAF}" srcOrd="0" destOrd="0" parTransId="{F564DEDC-581C-4B5C-8882-BC21075F04D9}" sibTransId="{FCCD900C-D955-402D-94F2-37551341926A}"/>
    <dgm:cxn modelId="{C3E1E6BE-DBC4-4472-AB12-6A77B91BBEDA}" srcId="{927C9A02-1CE5-4D6A-BBBC-4293C58B1DAF}" destId="{427D5A6C-1532-4789-83E2-6523254A3BC7}" srcOrd="4" destOrd="0" parTransId="{6B46B62E-E905-4091-A703-338B91972318}" sibTransId="{88043FD3-0B17-457A-90B7-0136C2DD9D20}"/>
    <dgm:cxn modelId="{B643E470-4D30-4F8D-B247-1B05FF245A28}" type="presOf" srcId="{D2391D13-E048-4675-94B1-0164A555B064}" destId="{CB04D655-D16C-41DE-97F1-F06A0C1857E0}" srcOrd="0" destOrd="0" presId="urn:microsoft.com/office/officeart/2005/8/layout/radial6"/>
    <dgm:cxn modelId="{15648864-BA20-428C-8C98-E479E0BA03B8}" type="presOf" srcId="{34C3280E-D32D-47A8-8101-7200D254A101}" destId="{5AFD5D71-6F60-4275-A93C-4D60AC01EEC9}" srcOrd="0" destOrd="0" presId="urn:microsoft.com/office/officeart/2005/8/layout/radial6"/>
    <dgm:cxn modelId="{91242AD9-FA89-4D21-B0E4-FA3FDBBEB7F3}" type="presOf" srcId="{427D5A6C-1532-4789-83E2-6523254A3BC7}" destId="{9E46E289-86C8-4DAF-BA13-A82C9A065C8A}" srcOrd="0" destOrd="0" presId="urn:microsoft.com/office/officeart/2005/8/layout/radial6"/>
    <dgm:cxn modelId="{05437014-99EB-4B6B-A639-1188811DDD44}" type="presOf" srcId="{1782EAEF-D51A-4F23-85A3-E6179245B6D9}" destId="{C7D8A79A-20FA-4D16-9155-8B68B5503169}" srcOrd="0" destOrd="0" presId="urn:microsoft.com/office/officeart/2005/8/layout/radial6"/>
    <dgm:cxn modelId="{E6AEA755-1FA4-479D-940D-93C78596F3BF}" type="presOf" srcId="{655D87DA-C13B-4260-AA02-BDE555EFFF2B}" destId="{4E450D07-8CDA-4F31-8D50-85D4321488CB}" srcOrd="0" destOrd="0" presId="urn:microsoft.com/office/officeart/2005/8/layout/radial6"/>
    <dgm:cxn modelId="{337FF26F-6AD8-4441-B2F8-F9269506EA81}" type="presOf" srcId="{5D110658-BFAC-4E1D-A9FF-B48B5D1ED4FE}" destId="{21B8C31F-12E1-49A2-9E07-A9ABE4D0DCEC}" srcOrd="0" destOrd="0" presId="urn:microsoft.com/office/officeart/2005/8/layout/radial6"/>
    <dgm:cxn modelId="{10FA20A7-938D-4903-86C9-F30B9B707A30}" type="presOf" srcId="{88043FD3-0B17-457A-90B7-0136C2DD9D20}" destId="{C2420FA9-B8C9-4643-B642-075A7D0FCEAF}" srcOrd="0" destOrd="0" presId="urn:microsoft.com/office/officeart/2005/8/layout/radial6"/>
    <dgm:cxn modelId="{761DA31E-4AE3-49A0-B071-789C74E29ED6}" srcId="{927C9A02-1CE5-4D6A-BBBC-4293C58B1DAF}" destId="{655D87DA-C13B-4260-AA02-BDE555EFFF2B}" srcOrd="2" destOrd="0" parTransId="{61D521BE-D3E3-4ADB-B37D-28531E00FDD5}" sibTransId="{D8739E09-05D1-4F01-9642-DB8C39E8CC01}"/>
    <dgm:cxn modelId="{22F3A867-B288-46EC-A64A-2998F8BA8572}" type="presOf" srcId="{D8739E09-05D1-4F01-9642-DB8C39E8CC01}" destId="{9212203C-EACF-47C7-97D9-1B275770ED48}" srcOrd="0" destOrd="0" presId="urn:microsoft.com/office/officeart/2005/8/layout/radial6"/>
    <dgm:cxn modelId="{7AE96D7F-8D74-426F-B8BA-EC4C5BD2CA66}" srcId="{927C9A02-1CE5-4D6A-BBBC-4293C58B1DAF}" destId="{72CF8F75-401E-43C6-BC3B-58EF7A07A5E0}" srcOrd="1" destOrd="0" parTransId="{FB1D8A9A-9B80-4BD3-B543-FDF67C36BC53}" sibTransId="{8E280382-DA24-4FF1-B727-17BCD8DA181D}"/>
    <dgm:cxn modelId="{BCA7C598-B24A-4512-902B-44FD30A108E7}" type="presOf" srcId="{A6E043CF-E992-49F0-AB1F-F43605122500}" destId="{DD0E669D-27F4-4222-83E3-BB86A79F1302}" srcOrd="0" destOrd="0" presId="urn:microsoft.com/office/officeart/2005/8/layout/radial6"/>
    <dgm:cxn modelId="{64F5D97A-0E8F-4888-8278-97170BD6AD89}" type="presOf" srcId="{927C9A02-1CE5-4D6A-BBBC-4293C58B1DAF}" destId="{893A33FF-EE9C-483A-AD1C-106E203F16B5}" srcOrd="0" destOrd="0" presId="urn:microsoft.com/office/officeart/2005/8/layout/radial6"/>
    <dgm:cxn modelId="{3B4709CC-88BD-4C3E-BA20-4E226838C877}" type="presOf" srcId="{8E280382-DA24-4FF1-B727-17BCD8DA181D}" destId="{9245B8F4-F6BA-41C4-8EF7-CC85B9D9C2A5}" srcOrd="0" destOrd="0" presId="urn:microsoft.com/office/officeart/2005/8/layout/radial6"/>
    <dgm:cxn modelId="{C62CEE71-25E6-47C5-ACC7-FE806332A4C1}" type="presParOf" srcId="{C7D8A79A-20FA-4D16-9155-8B68B5503169}" destId="{893A33FF-EE9C-483A-AD1C-106E203F16B5}" srcOrd="0" destOrd="0" presId="urn:microsoft.com/office/officeart/2005/8/layout/radial6"/>
    <dgm:cxn modelId="{E789E1E5-ED32-44A8-9DBE-8CE13C2B0846}" type="presParOf" srcId="{C7D8A79A-20FA-4D16-9155-8B68B5503169}" destId="{21B8C31F-12E1-49A2-9E07-A9ABE4D0DCEC}" srcOrd="1" destOrd="0" presId="urn:microsoft.com/office/officeart/2005/8/layout/radial6"/>
    <dgm:cxn modelId="{4CD6DC84-8996-4EC1-941F-2C5DF27150C8}" type="presParOf" srcId="{C7D8A79A-20FA-4D16-9155-8B68B5503169}" destId="{31CABC56-6C17-4EFE-8ACD-B0B98AFEEBBB}" srcOrd="2" destOrd="0" presId="urn:microsoft.com/office/officeart/2005/8/layout/radial6"/>
    <dgm:cxn modelId="{1C196606-738A-44AC-AC26-157F0B0FDFFA}" type="presParOf" srcId="{C7D8A79A-20FA-4D16-9155-8B68B5503169}" destId="{CB04D655-D16C-41DE-97F1-F06A0C1857E0}" srcOrd="3" destOrd="0" presId="urn:microsoft.com/office/officeart/2005/8/layout/radial6"/>
    <dgm:cxn modelId="{A187A204-C287-40A2-8FAA-3ACE1FFC3BF2}" type="presParOf" srcId="{C7D8A79A-20FA-4D16-9155-8B68B5503169}" destId="{3CB70B27-4BB4-487D-8945-E5AA1029969F}" srcOrd="4" destOrd="0" presId="urn:microsoft.com/office/officeart/2005/8/layout/radial6"/>
    <dgm:cxn modelId="{DFA60D5F-874A-4186-8980-8FB985FFDB02}" type="presParOf" srcId="{C7D8A79A-20FA-4D16-9155-8B68B5503169}" destId="{E1C1D729-D306-49A8-B843-DCB98A153947}" srcOrd="5" destOrd="0" presId="urn:microsoft.com/office/officeart/2005/8/layout/radial6"/>
    <dgm:cxn modelId="{3D40F2C8-7824-432A-85FF-13312C85E81D}" type="presParOf" srcId="{C7D8A79A-20FA-4D16-9155-8B68B5503169}" destId="{9245B8F4-F6BA-41C4-8EF7-CC85B9D9C2A5}" srcOrd="6" destOrd="0" presId="urn:microsoft.com/office/officeart/2005/8/layout/radial6"/>
    <dgm:cxn modelId="{2C17C862-E26F-4E98-A379-E41D5BE491A9}" type="presParOf" srcId="{C7D8A79A-20FA-4D16-9155-8B68B5503169}" destId="{4E450D07-8CDA-4F31-8D50-85D4321488CB}" srcOrd="7" destOrd="0" presId="urn:microsoft.com/office/officeart/2005/8/layout/radial6"/>
    <dgm:cxn modelId="{09AB7A4A-CBED-49CA-A0F9-7A3AB38D052C}" type="presParOf" srcId="{C7D8A79A-20FA-4D16-9155-8B68B5503169}" destId="{B78C7BB6-4F27-471C-9312-27B30EBA8804}" srcOrd="8" destOrd="0" presId="urn:microsoft.com/office/officeart/2005/8/layout/radial6"/>
    <dgm:cxn modelId="{56128C44-922C-46B5-94A0-87DCBE726BBC}" type="presParOf" srcId="{C7D8A79A-20FA-4D16-9155-8B68B5503169}" destId="{9212203C-EACF-47C7-97D9-1B275770ED48}" srcOrd="9" destOrd="0" presId="urn:microsoft.com/office/officeart/2005/8/layout/radial6"/>
    <dgm:cxn modelId="{12C777FA-9B75-467B-8C30-6E1675F75D41}" type="presParOf" srcId="{C7D8A79A-20FA-4D16-9155-8B68B5503169}" destId="{DD0E669D-27F4-4222-83E3-BB86A79F1302}" srcOrd="10" destOrd="0" presId="urn:microsoft.com/office/officeart/2005/8/layout/radial6"/>
    <dgm:cxn modelId="{BDF5AC41-AD14-4ABA-9BFC-628ACAFB6AB1}" type="presParOf" srcId="{C7D8A79A-20FA-4D16-9155-8B68B5503169}" destId="{E49AD146-C4DE-4AD9-AEEE-880E03560913}" srcOrd="11" destOrd="0" presId="urn:microsoft.com/office/officeart/2005/8/layout/radial6"/>
    <dgm:cxn modelId="{A7C9847F-2A1C-445C-B626-3A061CB0DE90}" type="presParOf" srcId="{C7D8A79A-20FA-4D16-9155-8B68B5503169}" destId="{5AFD5D71-6F60-4275-A93C-4D60AC01EEC9}" srcOrd="12" destOrd="0" presId="urn:microsoft.com/office/officeart/2005/8/layout/radial6"/>
    <dgm:cxn modelId="{AE11AED8-870B-4DBF-B3CF-AAD2C37997E7}" type="presParOf" srcId="{C7D8A79A-20FA-4D16-9155-8B68B5503169}" destId="{9E46E289-86C8-4DAF-BA13-A82C9A065C8A}" srcOrd="13" destOrd="0" presId="urn:microsoft.com/office/officeart/2005/8/layout/radial6"/>
    <dgm:cxn modelId="{DC18B99B-F1A8-4535-BC2A-A0B711C388CF}" type="presParOf" srcId="{C7D8A79A-20FA-4D16-9155-8B68B5503169}" destId="{997677B9-174D-4DFA-BDD2-6BB076AA6EB8}" srcOrd="14" destOrd="0" presId="urn:microsoft.com/office/officeart/2005/8/layout/radial6"/>
    <dgm:cxn modelId="{FB42A154-77C6-437E-B525-DEC0DBCDC526}" type="presParOf" srcId="{C7D8A79A-20FA-4D16-9155-8B68B5503169}" destId="{C2420FA9-B8C9-4643-B642-075A7D0FCEAF}"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072DD73-F016-460A-BDA9-BE595CC13459}" type="doc">
      <dgm:prSet loTypeId="urn:microsoft.com/office/officeart/2005/8/layout/hChevron3" loCatId="process" qsTypeId="urn:microsoft.com/office/officeart/2005/8/quickstyle/simple1" qsCatId="simple" csTypeId="urn:microsoft.com/office/officeart/2005/8/colors/accent1_2" csCatId="accent1" phldr="1"/>
      <dgm:spPr/>
    </dgm:pt>
    <dgm:pt modelId="{FB7FC02C-C1C9-4883-91CA-F83F7D9EB9F2}">
      <dgm:prSet phldrT="[Text]" custT="1"/>
      <dgm:spPr>
        <a:scene3d>
          <a:camera prst="orthographicFront"/>
          <a:lightRig rig="threePt" dir="t"/>
        </a:scene3d>
        <a:sp3d>
          <a:bevelT/>
        </a:sp3d>
      </dgm:spPr>
      <dgm:t>
        <a:bodyPr/>
        <a:lstStyle/>
        <a:p>
          <a:r>
            <a:rPr lang="en-AU" sz="2400" b="1" dirty="0" smtClean="0"/>
            <a:t>January</a:t>
          </a:r>
          <a:endParaRPr lang="en-AU" sz="2400" b="1" dirty="0"/>
        </a:p>
      </dgm:t>
    </dgm:pt>
    <dgm:pt modelId="{40B96CBB-1ADF-4C04-BCC2-F7474AFFBC78}" type="parTrans" cxnId="{F06908A9-E6BB-488C-9281-A33C1EA73BB9}">
      <dgm:prSet/>
      <dgm:spPr/>
      <dgm:t>
        <a:bodyPr/>
        <a:lstStyle/>
        <a:p>
          <a:endParaRPr lang="en-AU" sz="1400" b="1"/>
        </a:p>
      </dgm:t>
    </dgm:pt>
    <dgm:pt modelId="{28180949-FB49-41C3-B5A9-610507428602}" type="sibTrans" cxnId="{F06908A9-E6BB-488C-9281-A33C1EA73BB9}">
      <dgm:prSet/>
      <dgm:spPr/>
      <dgm:t>
        <a:bodyPr/>
        <a:lstStyle/>
        <a:p>
          <a:endParaRPr lang="en-AU" sz="1400" b="1"/>
        </a:p>
      </dgm:t>
    </dgm:pt>
    <dgm:pt modelId="{1718165E-9CAE-4AE7-8B48-60593F5D1877}">
      <dgm:prSet phldrT="[Text]" custT="1"/>
      <dgm:spPr>
        <a:scene3d>
          <a:camera prst="orthographicFront"/>
          <a:lightRig rig="threePt" dir="t"/>
        </a:scene3d>
        <a:sp3d>
          <a:bevelT/>
        </a:sp3d>
      </dgm:spPr>
      <dgm:t>
        <a:bodyPr/>
        <a:lstStyle/>
        <a:p>
          <a:r>
            <a:rPr lang="en-AU" sz="2400" b="1" dirty="0" smtClean="0"/>
            <a:t>February</a:t>
          </a:r>
          <a:endParaRPr lang="en-AU" sz="2400" b="1" dirty="0"/>
        </a:p>
      </dgm:t>
    </dgm:pt>
    <dgm:pt modelId="{EB9E44C7-DC77-4245-BAA5-02D427CDBF41}" type="parTrans" cxnId="{AC419687-FD31-4680-BE52-86DBD44D32D0}">
      <dgm:prSet/>
      <dgm:spPr/>
      <dgm:t>
        <a:bodyPr/>
        <a:lstStyle/>
        <a:p>
          <a:endParaRPr lang="en-AU" sz="1400" b="1"/>
        </a:p>
      </dgm:t>
    </dgm:pt>
    <dgm:pt modelId="{AD3B48AD-2F62-483F-B404-1A999AA34F3E}" type="sibTrans" cxnId="{AC419687-FD31-4680-BE52-86DBD44D32D0}">
      <dgm:prSet/>
      <dgm:spPr/>
      <dgm:t>
        <a:bodyPr/>
        <a:lstStyle/>
        <a:p>
          <a:endParaRPr lang="en-AU" sz="1400" b="1"/>
        </a:p>
      </dgm:t>
    </dgm:pt>
    <dgm:pt modelId="{BD9D29CB-5401-415C-B170-F49362556F9C}">
      <dgm:prSet phldrT="[Text]" custT="1"/>
      <dgm:spPr>
        <a:scene3d>
          <a:camera prst="orthographicFront"/>
          <a:lightRig rig="threePt" dir="t"/>
        </a:scene3d>
        <a:sp3d>
          <a:bevelT/>
        </a:sp3d>
      </dgm:spPr>
      <dgm:t>
        <a:bodyPr/>
        <a:lstStyle/>
        <a:p>
          <a:r>
            <a:rPr lang="en-AU" sz="2400" b="1" dirty="0" smtClean="0"/>
            <a:t>March</a:t>
          </a:r>
          <a:endParaRPr lang="en-AU" sz="2400" b="1" dirty="0"/>
        </a:p>
      </dgm:t>
    </dgm:pt>
    <dgm:pt modelId="{358D1A79-4C68-46F5-B2EA-56942A49FADB}" type="parTrans" cxnId="{31104CE2-2F2E-4895-859E-E9DC311979A1}">
      <dgm:prSet/>
      <dgm:spPr/>
      <dgm:t>
        <a:bodyPr/>
        <a:lstStyle/>
        <a:p>
          <a:endParaRPr lang="en-AU" sz="1400" b="1"/>
        </a:p>
      </dgm:t>
    </dgm:pt>
    <dgm:pt modelId="{6DF74A52-6CA5-4978-8953-9E7A3AF2B67B}" type="sibTrans" cxnId="{31104CE2-2F2E-4895-859E-E9DC311979A1}">
      <dgm:prSet/>
      <dgm:spPr/>
      <dgm:t>
        <a:bodyPr/>
        <a:lstStyle/>
        <a:p>
          <a:endParaRPr lang="en-AU" sz="1400" b="1"/>
        </a:p>
      </dgm:t>
    </dgm:pt>
    <dgm:pt modelId="{204ECEA5-6419-4821-AFFF-B159A36B2197}" type="pres">
      <dgm:prSet presAssocID="{A072DD73-F016-460A-BDA9-BE595CC13459}" presName="Name0" presStyleCnt="0">
        <dgm:presLayoutVars>
          <dgm:dir/>
          <dgm:resizeHandles val="exact"/>
        </dgm:presLayoutVars>
      </dgm:prSet>
      <dgm:spPr/>
    </dgm:pt>
    <dgm:pt modelId="{5CA0B1FB-42B3-499F-9AA5-5CEA443708BE}" type="pres">
      <dgm:prSet presAssocID="{FB7FC02C-C1C9-4883-91CA-F83F7D9EB9F2}" presName="parTxOnly" presStyleLbl="node1" presStyleIdx="0" presStyleCnt="3">
        <dgm:presLayoutVars>
          <dgm:bulletEnabled val="1"/>
        </dgm:presLayoutVars>
      </dgm:prSet>
      <dgm:spPr/>
      <dgm:t>
        <a:bodyPr/>
        <a:lstStyle/>
        <a:p>
          <a:endParaRPr lang="en-AU"/>
        </a:p>
      </dgm:t>
    </dgm:pt>
    <dgm:pt modelId="{7CAF6DD4-C38D-4C09-B618-B17CD1B86B60}" type="pres">
      <dgm:prSet presAssocID="{28180949-FB49-41C3-B5A9-610507428602}" presName="parSpace" presStyleCnt="0"/>
      <dgm:spPr/>
    </dgm:pt>
    <dgm:pt modelId="{AA740F3D-34B6-4CD2-8B5D-7ED59A1F3076}" type="pres">
      <dgm:prSet presAssocID="{1718165E-9CAE-4AE7-8B48-60593F5D1877}" presName="parTxOnly" presStyleLbl="node1" presStyleIdx="1" presStyleCnt="3">
        <dgm:presLayoutVars>
          <dgm:bulletEnabled val="1"/>
        </dgm:presLayoutVars>
      </dgm:prSet>
      <dgm:spPr/>
      <dgm:t>
        <a:bodyPr/>
        <a:lstStyle/>
        <a:p>
          <a:endParaRPr lang="en-AU"/>
        </a:p>
      </dgm:t>
    </dgm:pt>
    <dgm:pt modelId="{734FAA36-48FB-4F9C-87B8-89BAA3DC7AA1}" type="pres">
      <dgm:prSet presAssocID="{AD3B48AD-2F62-483F-B404-1A999AA34F3E}" presName="parSpace" presStyleCnt="0"/>
      <dgm:spPr/>
    </dgm:pt>
    <dgm:pt modelId="{F4918AE9-9493-4027-A66D-E60C13819A0B}" type="pres">
      <dgm:prSet presAssocID="{BD9D29CB-5401-415C-B170-F49362556F9C}" presName="parTxOnly" presStyleLbl="node1" presStyleIdx="2" presStyleCnt="3">
        <dgm:presLayoutVars>
          <dgm:bulletEnabled val="1"/>
        </dgm:presLayoutVars>
      </dgm:prSet>
      <dgm:spPr/>
      <dgm:t>
        <a:bodyPr/>
        <a:lstStyle/>
        <a:p>
          <a:endParaRPr lang="en-AU"/>
        </a:p>
      </dgm:t>
    </dgm:pt>
  </dgm:ptLst>
  <dgm:cxnLst>
    <dgm:cxn modelId="{F06908A9-E6BB-488C-9281-A33C1EA73BB9}" srcId="{A072DD73-F016-460A-BDA9-BE595CC13459}" destId="{FB7FC02C-C1C9-4883-91CA-F83F7D9EB9F2}" srcOrd="0" destOrd="0" parTransId="{40B96CBB-1ADF-4C04-BCC2-F7474AFFBC78}" sibTransId="{28180949-FB49-41C3-B5A9-610507428602}"/>
    <dgm:cxn modelId="{AC419687-FD31-4680-BE52-86DBD44D32D0}" srcId="{A072DD73-F016-460A-BDA9-BE595CC13459}" destId="{1718165E-9CAE-4AE7-8B48-60593F5D1877}" srcOrd="1" destOrd="0" parTransId="{EB9E44C7-DC77-4245-BAA5-02D427CDBF41}" sibTransId="{AD3B48AD-2F62-483F-B404-1A999AA34F3E}"/>
    <dgm:cxn modelId="{31104CE2-2F2E-4895-859E-E9DC311979A1}" srcId="{A072DD73-F016-460A-BDA9-BE595CC13459}" destId="{BD9D29CB-5401-415C-B170-F49362556F9C}" srcOrd="2" destOrd="0" parTransId="{358D1A79-4C68-46F5-B2EA-56942A49FADB}" sibTransId="{6DF74A52-6CA5-4978-8953-9E7A3AF2B67B}"/>
    <dgm:cxn modelId="{25244980-E73C-4DAD-B8C0-4628BCBDE497}" type="presOf" srcId="{FB7FC02C-C1C9-4883-91CA-F83F7D9EB9F2}" destId="{5CA0B1FB-42B3-499F-9AA5-5CEA443708BE}" srcOrd="0" destOrd="0" presId="urn:microsoft.com/office/officeart/2005/8/layout/hChevron3"/>
    <dgm:cxn modelId="{F8CAD7AD-BC08-4841-980B-E7C07B58D613}" type="presOf" srcId="{BD9D29CB-5401-415C-B170-F49362556F9C}" destId="{F4918AE9-9493-4027-A66D-E60C13819A0B}" srcOrd="0" destOrd="0" presId="urn:microsoft.com/office/officeart/2005/8/layout/hChevron3"/>
    <dgm:cxn modelId="{BE7E58A3-4D8D-45FF-80F3-0B5514DDA798}" type="presOf" srcId="{A072DD73-F016-460A-BDA9-BE595CC13459}" destId="{204ECEA5-6419-4821-AFFF-B159A36B2197}" srcOrd="0" destOrd="0" presId="urn:microsoft.com/office/officeart/2005/8/layout/hChevron3"/>
    <dgm:cxn modelId="{C030782B-5F39-4CDC-8139-D1A5F0BD0096}" type="presOf" srcId="{1718165E-9CAE-4AE7-8B48-60593F5D1877}" destId="{AA740F3D-34B6-4CD2-8B5D-7ED59A1F3076}" srcOrd="0" destOrd="0" presId="urn:microsoft.com/office/officeart/2005/8/layout/hChevron3"/>
    <dgm:cxn modelId="{E84F801E-341F-44FA-BEC1-C5A79C85EFA1}" type="presParOf" srcId="{204ECEA5-6419-4821-AFFF-B159A36B2197}" destId="{5CA0B1FB-42B3-499F-9AA5-5CEA443708BE}" srcOrd="0" destOrd="0" presId="urn:microsoft.com/office/officeart/2005/8/layout/hChevron3"/>
    <dgm:cxn modelId="{95B9A8CC-7359-433B-9FD6-C50F0F65BAFE}" type="presParOf" srcId="{204ECEA5-6419-4821-AFFF-B159A36B2197}" destId="{7CAF6DD4-C38D-4C09-B618-B17CD1B86B60}" srcOrd="1" destOrd="0" presId="urn:microsoft.com/office/officeart/2005/8/layout/hChevron3"/>
    <dgm:cxn modelId="{D330E4DF-90F4-419D-B5F5-B9148D6CB915}" type="presParOf" srcId="{204ECEA5-6419-4821-AFFF-B159A36B2197}" destId="{AA740F3D-34B6-4CD2-8B5D-7ED59A1F3076}" srcOrd="2" destOrd="0" presId="urn:microsoft.com/office/officeart/2005/8/layout/hChevron3"/>
    <dgm:cxn modelId="{2993BA2E-1738-4418-85E0-24BBD41ED8B0}" type="presParOf" srcId="{204ECEA5-6419-4821-AFFF-B159A36B2197}" destId="{734FAA36-48FB-4F9C-87B8-89BAA3DC7AA1}" srcOrd="3" destOrd="0" presId="urn:microsoft.com/office/officeart/2005/8/layout/hChevron3"/>
    <dgm:cxn modelId="{8E74F9D0-989F-4961-9860-261D1D0C73B4}" type="presParOf" srcId="{204ECEA5-6419-4821-AFFF-B159A36B2197}" destId="{F4918AE9-9493-4027-A66D-E60C13819A0B}" srcOrd="4"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F66960-7C93-4093-9025-E0DF5DD335BF}">
      <dsp:nvSpPr>
        <dsp:cNvPr id="0" name=""/>
        <dsp:cNvSpPr/>
      </dsp:nvSpPr>
      <dsp:spPr>
        <a:xfrm>
          <a:off x="957231" y="769244"/>
          <a:ext cx="3639783" cy="428209"/>
        </a:xfrm>
        <a:prstGeom prst="rect">
          <a:avLst/>
        </a:prstGeom>
        <a:solidFill>
          <a:srgbClr val="FF0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0F21F2-7ED3-4B50-A8F6-F579CE5A5759}">
      <dsp:nvSpPr>
        <dsp:cNvPr id="0" name=""/>
        <dsp:cNvSpPr/>
      </dsp:nvSpPr>
      <dsp:spPr>
        <a:xfrm>
          <a:off x="957231"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CF21CD4E-F29E-4366-B9A0-792125F6CD5D}">
      <dsp:nvSpPr>
        <dsp:cNvPr id="0" name=""/>
        <dsp:cNvSpPr/>
      </dsp:nvSpPr>
      <dsp:spPr>
        <a:xfrm>
          <a:off x="957231"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Workshop Approach</a:t>
          </a:r>
          <a:endParaRPr lang="en-AU" sz="3000" kern="1200" dirty="0"/>
        </a:p>
      </dsp:txBody>
      <dsp:txXfrm>
        <a:off x="957231" y="0"/>
        <a:ext cx="3639783" cy="769244"/>
      </dsp:txXfrm>
    </dsp:sp>
    <dsp:sp modelId="{A818A80A-A3CE-453B-9935-5332AEAA594C}">
      <dsp:nvSpPr>
        <dsp:cNvPr id="0" name=""/>
        <dsp:cNvSpPr/>
      </dsp:nvSpPr>
      <dsp:spPr>
        <a:xfrm>
          <a:off x="957231"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A9DA645-9CC8-4734-9571-39BEC0C1A46D}">
      <dsp:nvSpPr>
        <dsp:cNvPr id="0" name=""/>
        <dsp:cNvSpPr/>
      </dsp:nvSpPr>
      <dsp:spPr>
        <a:xfrm>
          <a:off x="1212016"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Can be easily scheduled and coordinated with participants’ schedules</a:t>
          </a:r>
          <a:endParaRPr lang="en-AU" sz="1200" kern="1200" dirty="0"/>
        </a:p>
      </dsp:txBody>
      <dsp:txXfrm>
        <a:off x="1212016" y="1375399"/>
        <a:ext cx="3384998" cy="623275"/>
      </dsp:txXfrm>
    </dsp:sp>
    <dsp:sp modelId="{1202E27E-BBC6-4D1C-8670-4C358625924B}">
      <dsp:nvSpPr>
        <dsp:cNvPr id="0" name=""/>
        <dsp:cNvSpPr/>
      </dsp:nvSpPr>
      <dsp:spPr>
        <a:xfrm>
          <a:off x="957231"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C54D025-F2CA-4A11-8E61-32C4E4C97E8A}">
      <dsp:nvSpPr>
        <dsp:cNvPr id="0" name=""/>
        <dsp:cNvSpPr/>
      </dsp:nvSpPr>
      <dsp:spPr>
        <a:xfrm>
          <a:off x="1212016"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biases such as groupthink</a:t>
          </a:r>
          <a:endParaRPr lang="en-AU" sz="1200" kern="1200" dirty="0"/>
        </a:p>
      </dsp:txBody>
      <dsp:txXfrm>
        <a:off x="1212016" y="1998674"/>
        <a:ext cx="3384998" cy="623275"/>
      </dsp:txXfrm>
    </dsp:sp>
    <dsp:sp modelId="{D55DF152-C207-4F1B-9844-3D59D9497080}">
      <dsp:nvSpPr>
        <dsp:cNvPr id="0" name=""/>
        <dsp:cNvSpPr/>
      </dsp:nvSpPr>
      <dsp:spPr>
        <a:xfrm>
          <a:off x="957231"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6643486-E055-4213-9887-4D2B40F6DEFE}">
      <dsp:nvSpPr>
        <dsp:cNvPr id="0" name=""/>
        <dsp:cNvSpPr/>
      </dsp:nvSpPr>
      <dsp:spPr>
        <a:xfrm>
          <a:off x="1212016"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socially desirable responses, especially if one’s boss is in the room</a:t>
          </a:r>
          <a:endParaRPr lang="en-AU" sz="1200" kern="1200" dirty="0"/>
        </a:p>
      </dsp:txBody>
      <dsp:txXfrm>
        <a:off x="1212016" y="2621949"/>
        <a:ext cx="3384998" cy="623275"/>
      </dsp:txXfrm>
    </dsp:sp>
    <dsp:sp modelId="{52805823-34A6-4B1A-935C-9F26DE1373D4}">
      <dsp:nvSpPr>
        <dsp:cNvPr id="0" name=""/>
        <dsp:cNvSpPr/>
      </dsp:nvSpPr>
      <dsp:spPr>
        <a:xfrm>
          <a:off x="957231"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96B3353-2E71-4F6F-AA31-D0E9B16202E7}">
      <dsp:nvSpPr>
        <dsp:cNvPr id="0" name=""/>
        <dsp:cNvSpPr/>
      </dsp:nvSpPr>
      <dsp:spPr>
        <a:xfrm>
          <a:off x="1212016"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Anonymity of participant responses</a:t>
          </a:r>
          <a:endParaRPr lang="en-AU" sz="1200" kern="1200" dirty="0"/>
        </a:p>
      </dsp:txBody>
      <dsp:txXfrm>
        <a:off x="1212016" y="3245225"/>
        <a:ext cx="3384998" cy="623275"/>
      </dsp:txXfrm>
    </dsp:sp>
    <dsp:sp modelId="{573C3947-B1FC-4F32-AB64-9C66E7AA3FC3}">
      <dsp:nvSpPr>
        <dsp:cNvPr id="0" name=""/>
        <dsp:cNvSpPr/>
      </dsp:nvSpPr>
      <dsp:spPr>
        <a:xfrm>
          <a:off x="957231"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865C6E9D-57E4-45CF-A641-3DBE9A42BE06}">
      <dsp:nvSpPr>
        <dsp:cNvPr id="0" name=""/>
        <dsp:cNvSpPr/>
      </dsp:nvSpPr>
      <dsp:spPr>
        <a:xfrm>
          <a:off x="1212016"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Quantifiable safety data that has reached group consensus</a:t>
          </a:r>
          <a:endParaRPr lang="en-AU" sz="1200" kern="1200" dirty="0"/>
        </a:p>
      </dsp:txBody>
      <dsp:txXfrm>
        <a:off x="1212016" y="3868500"/>
        <a:ext cx="3384998" cy="623275"/>
      </dsp:txXfrm>
    </dsp:sp>
    <dsp:sp modelId="{CD8F7CF8-4E1F-467C-9FA9-B6D40B0DF39F}">
      <dsp:nvSpPr>
        <dsp:cNvPr id="0" name=""/>
        <dsp:cNvSpPr/>
      </dsp:nvSpPr>
      <dsp:spPr>
        <a:xfrm>
          <a:off x="957231"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A9E779B-F279-4CFD-B45E-28D9F2CF009C}">
      <dsp:nvSpPr>
        <dsp:cNvPr id="0" name=""/>
        <dsp:cNvSpPr/>
      </dsp:nvSpPr>
      <dsp:spPr>
        <a:xfrm>
          <a:off x="1212016"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tandardised participant risk output from workshop to workshop</a:t>
          </a:r>
          <a:endParaRPr lang="en-AU" sz="1200" kern="1200" dirty="0"/>
        </a:p>
      </dsp:txBody>
      <dsp:txXfrm>
        <a:off x="1212016" y="4491775"/>
        <a:ext cx="3384998" cy="623275"/>
      </dsp:txXfrm>
    </dsp:sp>
    <dsp:sp modelId="{C35CF644-C76D-44BA-8AF7-F1CA570219E2}">
      <dsp:nvSpPr>
        <dsp:cNvPr id="0" name=""/>
        <dsp:cNvSpPr/>
      </dsp:nvSpPr>
      <dsp:spPr>
        <a:xfrm>
          <a:off x="4779004" y="769244"/>
          <a:ext cx="3639783" cy="428209"/>
        </a:xfrm>
        <a:prstGeom prst="rect">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32392F0-BF2B-4290-84FF-D362792C1E94}">
      <dsp:nvSpPr>
        <dsp:cNvPr id="0" name=""/>
        <dsp:cNvSpPr/>
      </dsp:nvSpPr>
      <dsp:spPr>
        <a:xfrm>
          <a:off x="4779004"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C1B8FBC-CDCE-4813-B265-40DE9DE62D2D}">
      <dsp:nvSpPr>
        <dsp:cNvPr id="0" name=""/>
        <dsp:cNvSpPr/>
      </dsp:nvSpPr>
      <dsp:spPr>
        <a:xfrm>
          <a:off x="4779004"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Specializ Approach</a:t>
          </a:r>
          <a:endParaRPr lang="en-AU" sz="3000" kern="1200" dirty="0"/>
        </a:p>
      </dsp:txBody>
      <dsp:txXfrm>
        <a:off x="4779004" y="0"/>
        <a:ext cx="3639783" cy="769244"/>
      </dsp:txXfrm>
    </dsp:sp>
    <dsp:sp modelId="{AB8BBE1A-AE53-4BDA-9171-7D6AF60C9AAF}">
      <dsp:nvSpPr>
        <dsp:cNvPr id="0" name=""/>
        <dsp:cNvSpPr/>
      </dsp:nvSpPr>
      <dsp:spPr>
        <a:xfrm>
          <a:off x="4779004"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F7B0E26-FD90-4E05-ADEA-AE92E100898A}">
      <dsp:nvSpPr>
        <dsp:cNvPr id="0" name=""/>
        <dsp:cNvSpPr/>
      </dsp:nvSpPr>
      <dsp:spPr>
        <a:xfrm>
          <a:off x="5033788"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Participants complete Health Check and Safety assessments online and on their own time</a:t>
          </a:r>
          <a:endParaRPr lang="en-AU" sz="1200" kern="1200" dirty="0"/>
        </a:p>
      </dsp:txBody>
      <dsp:txXfrm>
        <a:off x="5033788" y="1375399"/>
        <a:ext cx="3384998" cy="623275"/>
      </dsp:txXfrm>
    </dsp:sp>
    <dsp:sp modelId="{3F238400-0B83-4876-B8AE-CA0F0D1CC629}">
      <dsp:nvSpPr>
        <dsp:cNvPr id="0" name=""/>
        <dsp:cNvSpPr/>
      </dsp:nvSpPr>
      <dsp:spPr>
        <a:xfrm>
          <a:off x="4779004"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7D320DB-F4FB-400C-9640-7844DE720301}">
      <dsp:nvSpPr>
        <dsp:cNvPr id="0" name=""/>
        <dsp:cNvSpPr/>
      </dsp:nvSpPr>
      <dsp:spPr>
        <a:xfrm>
          <a:off x="5033788"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anonymous allowing participants to freely state their beliefs</a:t>
          </a:r>
          <a:endParaRPr lang="en-AU" sz="1200" kern="1200" dirty="0"/>
        </a:p>
      </dsp:txBody>
      <dsp:txXfrm>
        <a:off x="5033788" y="1998674"/>
        <a:ext cx="3384998" cy="623275"/>
      </dsp:txXfrm>
    </dsp:sp>
    <dsp:sp modelId="{18991E8F-44A8-42C7-9516-CA8369CE552D}">
      <dsp:nvSpPr>
        <dsp:cNvPr id="0" name=""/>
        <dsp:cNvSpPr/>
      </dsp:nvSpPr>
      <dsp:spPr>
        <a:xfrm>
          <a:off x="4779004"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169BD50-BFCE-4C03-B188-4626FA964331}">
      <dsp:nvSpPr>
        <dsp:cNvPr id="0" name=""/>
        <dsp:cNvSpPr/>
      </dsp:nvSpPr>
      <dsp:spPr>
        <a:xfrm>
          <a:off x="5033788"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terates until consensus is reached</a:t>
          </a:r>
          <a:endParaRPr lang="en-AU" sz="1200" kern="1200" dirty="0"/>
        </a:p>
      </dsp:txBody>
      <dsp:txXfrm>
        <a:off x="5033788" y="2621949"/>
        <a:ext cx="3384998" cy="623275"/>
      </dsp:txXfrm>
    </dsp:sp>
    <dsp:sp modelId="{60BE5BA7-BC56-4FD0-85D5-35E23CAD2399}">
      <dsp:nvSpPr>
        <dsp:cNvPr id="0" name=""/>
        <dsp:cNvSpPr/>
      </dsp:nvSpPr>
      <dsp:spPr>
        <a:xfrm>
          <a:off x="4779004"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5C76C04-004B-410D-A103-E7142BC83B7E}">
      <dsp:nvSpPr>
        <dsp:cNvPr id="0" name=""/>
        <dsp:cNvSpPr/>
      </dsp:nvSpPr>
      <dsp:spPr>
        <a:xfrm>
          <a:off x="5033788"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can produce comparable risk assessments across the entire organisation</a:t>
          </a:r>
          <a:endParaRPr lang="en-AU" sz="1200" kern="1200" dirty="0"/>
        </a:p>
      </dsp:txBody>
      <dsp:txXfrm>
        <a:off x="5033788" y="3245225"/>
        <a:ext cx="3384998" cy="623275"/>
      </dsp:txXfrm>
    </dsp:sp>
    <dsp:sp modelId="{5202C56F-EEFA-4ED8-9D25-AE493EEBB602}">
      <dsp:nvSpPr>
        <dsp:cNvPr id="0" name=""/>
        <dsp:cNvSpPr/>
      </dsp:nvSpPr>
      <dsp:spPr>
        <a:xfrm>
          <a:off x="4779004"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6E296A8-F9CB-47D8-909C-DA67DF699883}">
      <dsp:nvSpPr>
        <dsp:cNvPr id="0" name=""/>
        <dsp:cNvSpPr/>
      </dsp:nvSpPr>
      <dsp:spPr>
        <a:xfrm>
          <a:off x="5033788"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allows participants to feed off of each other’s ideas and vote on them</a:t>
          </a:r>
          <a:endParaRPr lang="en-AU" sz="1200" kern="1200" dirty="0"/>
        </a:p>
      </dsp:txBody>
      <dsp:txXfrm>
        <a:off x="5033788" y="3868500"/>
        <a:ext cx="3384998" cy="623275"/>
      </dsp:txXfrm>
    </dsp:sp>
    <dsp:sp modelId="{675BDB46-BBC9-450E-9245-446A028BC159}">
      <dsp:nvSpPr>
        <dsp:cNvPr id="0" name=""/>
        <dsp:cNvSpPr/>
      </dsp:nvSpPr>
      <dsp:spPr>
        <a:xfrm>
          <a:off x="4779004"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BE43802-B562-4436-B0B1-8E4828D45772}">
      <dsp:nvSpPr>
        <dsp:cNvPr id="0" name=""/>
        <dsp:cNvSpPr/>
      </dsp:nvSpPr>
      <dsp:spPr>
        <a:xfrm>
          <a:off x="5033788"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fast taking less than 10 minutes to complete one iteration</a:t>
          </a:r>
          <a:endParaRPr lang="en-AU" sz="1200" kern="1200" dirty="0"/>
        </a:p>
      </dsp:txBody>
      <dsp:txXfrm>
        <a:off x="5033788" y="4491775"/>
        <a:ext cx="3384998" cy="623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defTabSz="658966">
              <a:defRPr sz="900" dirty="0"/>
            </a:lvl1pPr>
          </a:lstStyle>
          <a:p>
            <a:pPr>
              <a:defRPr/>
            </a:pPr>
            <a:endParaRPr lang="en-GB" dirty="0"/>
          </a:p>
        </p:txBody>
      </p:sp>
      <p:sp>
        <p:nvSpPr>
          <p:cNvPr id="3" name="Date Placeholder 2"/>
          <p:cNvSpPr>
            <a:spLocks noGrp="1"/>
          </p:cNvSpPr>
          <p:nvPr>
            <p:ph type="dt" sz="quarter" idx="1"/>
          </p:nvPr>
        </p:nvSpPr>
        <p:spPr bwMode="auto">
          <a:xfrm>
            <a:off x="5798822" y="4"/>
            <a:ext cx="4433403"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algn="r" defTabSz="658966">
              <a:defRPr sz="900"/>
            </a:lvl1pPr>
          </a:lstStyle>
          <a:p>
            <a:pPr>
              <a:defRPr/>
            </a:pPr>
            <a:fld id="{D8F4E171-0629-4DEA-8FE5-2265E5347281}" type="datetimeFigureOut">
              <a:rPr lang="en-US"/>
              <a:pPr>
                <a:defRPr/>
              </a:pPr>
              <a:t>7/26/2012</a:t>
            </a:fld>
            <a:endParaRPr lang="en-GB" dirty="0"/>
          </a:p>
        </p:txBody>
      </p:sp>
      <p:sp>
        <p:nvSpPr>
          <p:cNvPr id="4" name="Footer Placeholder 3"/>
          <p:cNvSpPr>
            <a:spLocks noGrp="1"/>
          </p:cNvSpPr>
          <p:nvPr>
            <p:ph type="ftr" sz="quarter" idx="2"/>
          </p:nvPr>
        </p:nvSpPr>
        <p:spPr bwMode="auto">
          <a:xfrm>
            <a:off x="1" y="6743202"/>
            <a:ext cx="4435798"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defTabSz="658966">
              <a:defRPr sz="900" dirty="0"/>
            </a:lvl1pPr>
          </a:lstStyle>
          <a:p>
            <a:pPr>
              <a:defRPr/>
            </a:pPr>
            <a:endParaRPr lang="en-GB" dirty="0"/>
          </a:p>
        </p:txBody>
      </p:sp>
      <p:sp>
        <p:nvSpPr>
          <p:cNvPr id="5" name="Slide Number Placeholder 4"/>
          <p:cNvSpPr>
            <a:spLocks noGrp="1"/>
          </p:cNvSpPr>
          <p:nvPr>
            <p:ph type="sldNum" sz="quarter" idx="3"/>
          </p:nvPr>
        </p:nvSpPr>
        <p:spPr bwMode="auto">
          <a:xfrm>
            <a:off x="5798822" y="6743202"/>
            <a:ext cx="4433403"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algn="r" defTabSz="658966">
              <a:defRPr sz="9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val="1255161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3" name="Date Placeholder 2"/>
          <p:cNvSpPr>
            <a:spLocks noGrp="1"/>
          </p:cNvSpPr>
          <p:nvPr>
            <p:ph type="dt" idx="1"/>
          </p:nvPr>
        </p:nvSpPr>
        <p:spPr bwMode="auto">
          <a:xfrm>
            <a:off x="5798822" y="4"/>
            <a:ext cx="4433403"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algn="r" defTabSz="658966">
              <a:defRPr sz="1200">
                <a:latin typeface="Calibri" pitchFamily="34" charset="0"/>
              </a:defRPr>
            </a:lvl1pPr>
          </a:lstStyle>
          <a:p>
            <a:pPr>
              <a:defRPr/>
            </a:pPr>
            <a:fld id="{A6C25497-7110-4CD9-8EB7-D854FECC23F9}" type="datetimeFigureOut">
              <a:rPr lang="en-AU" smtClean="0"/>
              <a:pPr>
                <a:defRPr/>
              </a:pPr>
              <a:t>26/07/2012</a:t>
            </a:fld>
            <a:endParaRPr lang="en-AU" dirty="0"/>
          </a:p>
        </p:txBody>
      </p:sp>
      <p:sp>
        <p:nvSpPr>
          <p:cNvPr id="4" name="Slide Image Placeholder 3"/>
          <p:cNvSpPr>
            <a:spLocks noGrp="1" noRot="1" noChangeAspect="1"/>
          </p:cNvSpPr>
          <p:nvPr>
            <p:ph type="sldImg" idx="2"/>
          </p:nvPr>
        </p:nvSpPr>
        <p:spPr>
          <a:xfrm>
            <a:off x="3346450" y="533400"/>
            <a:ext cx="3543300" cy="2659063"/>
          </a:xfrm>
          <a:prstGeom prst="rect">
            <a:avLst/>
          </a:prstGeom>
          <a:noFill/>
          <a:ln w="12700">
            <a:solidFill>
              <a:prstClr val="black"/>
            </a:solidFill>
          </a:ln>
        </p:spPr>
        <p:txBody>
          <a:bodyPr vert="horz" lIns="144651" tIns="72327" rIns="144651" bIns="72327" rtlCol="0" anchor="ctr"/>
          <a:lstStyle/>
          <a:p>
            <a:pPr lvl="0"/>
            <a:endParaRPr lang="en-GB" noProof="0" dirty="0"/>
          </a:p>
        </p:txBody>
      </p:sp>
      <p:sp>
        <p:nvSpPr>
          <p:cNvPr id="5" name="Notes Placeholder 4"/>
          <p:cNvSpPr>
            <a:spLocks noGrp="1"/>
          </p:cNvSpPr>
          <p:nvPr>
            <p:ph type="body" sz="quarter" idx="3"/>
          </p:nvPr>
        </p:nvSpPr>
        <p:spPr bwMode="auto">
          <a:xfrm>
            <a:off x="1023463" y="3372167"/>
            <a:ext cx="8187690" cy="319468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p>
            <a:pPr lvl="0"/>
            <a:r>
              <a:rPr lang="en-AU" noProof="0" smtClean="0"/>
              <a:t>Click to edit Master text styles</a:t>
            </a:r>
          </a:p>
          <a:p>
            <a:pPr lvl="0"/>
            <a:r>
              <a:rPr lang="en-AU" noProof="0" smtClean="0"/>
              <a:t>Second level</a:t>
            </a:r>
          </a:p>
          <a:p>
            <a:pPr lvl="0"/>
            <a:r>
              <a:rPr lang="en-AU" noProof="0" smtClean="0"/>
              <a:t>Third level</a:t>
            </a:r>
          </a:p>
          <a:p>
            <a:pPr lvl="0"/>
            <a:r>
              <a:rPr lang="en-AU" noProof="0" smtClean="0"/>
              <a:t>Fourth level</a:t>
            </a:r>
          </a:p>
          <a:p>
            <a:pPr lvl="0"/>
            <a:r>
              <a:rPr lang="en-AU" noProof="0" smtClean="0"/>
              <a:t>Fifth level</a:t>
            </a:r>
          </a:p>
        </p:txBody>
      </p:sp>
      <p:sp>
        <p:nvSpPr>
          <p:cNvPr id="6" name="Footer Placeholder 5"/>
          <p:cNvSpPr>
            <a:spLocks noGrp="1"/>
          </p:cNvSpPr>
          <p:nvPr>
            <p:ph type="ftr" sz="quarter" idx="4"/>
          </p:nvPr>
        </p:nvSpPr>
        <p:spPr bwMode="auto">
          <a:xfrm>
            <a:off x="1" y="6743202"/>
            <a:ext cx="4435798"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7" name="Slide Number Placeholder 6"/>
          <p:cNvSpPr>
            <a:spLocks noGrp="1"/>
          </p:cNvSpPr>
          <p:nvPr>
            <p:ph type="sldNum" sz="quarter" idx="5"/>
          </p:nvPr>
        </p:nvSpPr>
        <p:spPr bwMode="auto">
          <a:xfrm>
            <a:off x="5798822" y="6743202"/>
            <a:ext cx="4433403"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algn="r" defTabSz="658966">
              <a:defRPr sz="1200">
                <a:latin typeface="Calibri" pitchFamily="34" charset="0"/>
              </a:defRPr>
            </a:lvl1pPr>
          </a:lstStyle>
          <a:p>
            <a:pPr>
              <a:defRPr/>
            </a:pPr>
            <a:fld id="{DB19E439-0A36-4389-B1D4-036D35E9F4EA}" type="slidenum">
              <a:rPr lang="en-AU" smtClean="0"/>
              <a:pPr>
                <a:defRPr/>
              </a:pPr>
              <a:t>‹#›</a:t>
            </a:fld>
            <a:endParaRPr lang="en-AU" dirty="0"/>
          </a:p>
        </p:txBody>
      </p:sp>
    </p:spTree>
    <p:extLst>
      <p:ext uri="{BB962C8B-B14F-4D97-AF65-F5344CB8AC3E}">
        <p14:creationId xmlns:p14="http://schemas.microsoft.com/office/powerpoint/2010/main" val="40588784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pitchFamily="-109" charset="-128"/>
              </a:defRPr>
            </a:lvl1pPr>
            <a:lvl2pPr marL="39263129" indent="-38789881">
              <a:defRPr sz="1200">
                <a:solidFill>
                  <a:schemeClr val="tx1"/>
                </a:solidFill>
                <a:latin typeface="Arial" charset="0"/>
                <a:ea typeface="ＭＳ Ｐゴシック" pitchFamily="-109" charset="-128"/>
              </a:defRPr>
            </a:lvl2pPr>
            <a:lvl3pPr>
              <a:defRPr sz="1200">
                <a:solidFill>
                  <a:schemeClr val="tx1"/>
                </a:solidFill>
                <a:latin typeface="Arial" charset="0"/>
                <a:ea typeface="ＭＳ Ｐゴシック" pitchFamily="-109" charset="-128"/>
              </a:defRPr>
            </a:lvl3pPr>
            <a:lvl4pPr>
              <a:defRPr sz="1200">
                <a:solidFill>
                  <a:schemeClr val="tx1"/>
                </a:solidFill>
                <a:latin typeface="Arial" charset="0"/>
                <a:ea typeface="ＭＳ Ｐゴシック" pitchFamily="-109" charset="-128"/>
              </a:defRPr>
            </a:lvl4pPr>
            <a:lvl5pPr>
              <a:defRPr sz="1200">
                <a:solidFill>
                  <a:schemeClr val="tx1"/>
                </a:solidFill>
                <a:latin typeface="Arial" charset="0"/>
                <a:ea typeface="ＭＳ Ｐゴシック" pitchFamily="-109" charset="-128"/>
              </a:defRPr>
            </a:lvl5pPr>
            <a:lvl6pPr marL="473248" eaLnBrk="0" fontAlgn="base" hangingPunct="0">
              <a:spcBef>
                <a:spcPct val="0"/>
              </a:spcBef>
              <a:spcAft>
                <a:spcPct val="0"/>
              </a:spcAft>
              <a:defRPr sz="1200">
                <a:solidFill>
                  <a:schemeClr val="tx1"/>
                </a:solidFill>
                <a:latin typeface="Arial" charset="0"/>
                <a:ea typeface="ＭＳ Ｐゴシック" pitchFamily="-109" charset="-128"/>
              </a:defRPr>
            </a:lvl6pPr>
            <a:lvl7pPr marL="946495" eaLnBrk="0" fontAlgn="base" hangingPunct="0">
              <a:spcBef>
                <a:spcPct val="0"/>
              </a:spcBef>
              <a:spcAft>
                <a:spcPct val="0"/>
              </a:spcAft>
              <a:defRPr sz="1200">
                <a:solidFill>
                  <a:schemeClr val="tx1"/>
                </a:solidFill>
                <a:latin typeface="Arial" charset="0"/>
                <a:ea typeface="ＭＳ Ｐゴシック" pitchFamily="-109" charset="-128"/>
              </a:defRPr>
            </a:lvl7pPr>
            <a:lvl8pPr marL="1419743" eaLnBrk="0" fontAlgn="base" hangingPunct="0">
              <a:spcBef>
                <a:spcPct val="0"/>
              </a:spcBef>
              <a:spcAft>
                <a:spcPct val="0"/>
              </a:spcAft>
              <a:defRPr sz="1200">
                <a:solidFill>
                  <a:schemeClr val="tx1"/>
                </a:solidFill>
                <a:latin typeface="Arial" charset="0"/>
                <a:ea typeface="ＭＳ Ｐゴシック" pitchFamily="-109" charset="-128"/>
              </a:defRPr>
            </a:lvl8pPr>
            <a:lvl9pPr marL="1892991" eaLnBrk="0" fontAlgn="base" hangingPunct="0">
              <a:spcBef>
                <a:spcPct val="0"/>
              </a:spcBef>
              <a:spcAft>
                <a:spcPct val="0"/>
              </a:spcAft>
              <a:defRPr sz="1200">
                <a:solidFill>
                  <a:schemeClr val="tx1"/>
                </a:solidFill>
                <a:latin typeface="Arial" charset="0"/>
                <a:ea typeface="ＭＳ Ｐゴシック" pitchFamily="-109" charset="-128"/>
              </a:defRPr>
            </a:lvl9pPr>
          </a:lstStyle>
          <a:p>
            <a:fld id="{C5469CD4-A105-4F60-87CC-AA0ECBD31DDD}" type="slidenum">
              <a:rPr lang="en-US"/>
              <a:pPr/>
              <a:t>0</a:t>
            </a:fld>
            <a:endParaRPr lang="en-US" dirty="0"/>
          </a:p>
        </p:txBody>
      </p:sp>
      <p:sp>
        <p:nvSpPr>
          <p:cNvPr id="15363" name="Rectangle 2"/>
          <p:cNvSpPr>
            <a:spLocks noGrp="1" noRot="1" noChangeAspect="1" noChangeArrowheads="1"/>
          </p:cNvSpPr>
          <p:nvPr>
            <p:ph type="sldImg"/>
          </p:nvPr>
        </p:nvSpPr>
        <p:spPr>
          <a:xfrm>
            <a:off x="3346450" y="533400"/>
            <a:ext cx="3543300" cy="2659063"/>
          </a:xfrm>
          <a:solidFill>
            <a:srgbClr val="FFFFFF"/>
          </a:solidFill>
          <a:ln/>
        </p:spPr>
      </p:sp>
      <p:sp>
        <p:nvSpPr>
          <p:cNvPr id="15364"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dirty="0" smtClean="0">
              <a:latin typeface="Arial" charset="0"/>
              <a:ea typeface="ＭＳ Ｐゴシック" pitchFamily="-109"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As you can see here we’re highlighting some of the differences between the workshop approach</a:t>
            </a:r>
            <a:r>
              <a:rPr lang="en-US" baseline="0" dirty="0" smtClean="0"/>
              <a:t> and the </a:t>
            </a:r>
            <a:r>
              <a:rPr lang="en-US" baseline="0" dirty="0" err="1" smtClean="0"/>
              <a:t>specializ</a:t>
            </a:r>
            <a:r>
              <a:rPr lang="en-US" baseline="0" dirty="0" smtClean="0"/>
              <a:t> approach.</a:t>
            </a:r>
          </a:p>
          <a:p>
            <a:pPr marL="177468" indent="-177468">
              <a:buFont typeface="Arial"/>
              <a:buChar char="•"/>
            </a:pPr>
            <a:r>
              <a:rPr lang="en-US" baseline="0" dirty="0" smtClean="0"/>
              <a:t>With the workshop approach you have to conduct client interviews and physically meet with them and get background information before you can start the workshop – 10 hours</a:t>
            </a:r>
          </a:p>
          <a:p>
            <a:pPr marL="177468" indent="-177468">
              <a:buFont typeface="Arial"/>
              <a:buChar char="•"/>
            </a:pPr>
            <a:r>
              <a:rPr lang="en-US" baseline="0" dirty="0" smtClean="0"/>
              <a:t>Then you have to prepare and setup the workshop – </a:t>
            </a:r>
            <a:r>
              <a:rPr lang="en-US" baseline="0" dirty="0" err="1" smtClean="0"/>
              <a:t>avg</a:t>
            </a:r>
            <a:r>
              <a:rPr lang="en-US" baseline="0" dirty="0" smtClean="0"/>
              <a:t> 5 hours</a:t>
            </a:r>
          </a:p>
          <a:p>
            <a:pPr marL="177468" indent="-177468">
              <a:buFont typeface="Arial"/>
              <a:buChar char="•"/>
            </a:pPr>
            <a:r>
              <a:rPr lang="en-US" baseline="0" dirty="0" smtClean="0"/>
              <a:t>Conduct the workshop – 3 hours</a:t>
            </a:r>
          </a:p>
          <a:p>
            <a:pPr marL="177468" indent="-177468">
              <a:buFont typeface="Arial"/>
              <a:buChar char="•"/>
            </a:pPr>
            <a:r>
              <a:rPr lang="en-US" baseline="0" dirty="0" smtClean="0"/>
              <a:t>Analyze the findings – </a:t>
            </a:r>
            <a:r>
              <a:rPr lang="en-US" baseline="0" dirty="0" err="1" smtClean="0"/>
              <a:t>avg</a:t>
            </a:r>
            <a:r>
              <a:rPr lang="en-US" baseline="0" dirty="0" smtClean="0"/>
              <a:t> 4 hours</a:t>
            </a:r>
          </a:p>
          <a:p>
            <a:pPr marL="177468" indent="-177468">
              <a:buFont typeface="Arial"/>
              <a:buChar char="•"/>
            </a:pPr>
            <a:r>
              <a:rPr lang="en-US" baseline="0" dirty="0" smtClean="0"/>
              <a:t>So that’s about 22 hours of work per workshop and there are 7 lines of business, at the minimum you’re looking at 154 hours</a:t>
            </a:r>
          </a:p>
          <a:p>
            <a:pPr marL="177468" indent="-177468">
              <a:buFont typeface="Arial"/>
              <a:buChar char="•"/>
            </a:pPr>
            <a:r>
              <a:rPr lang="en-US" baseline="0" dirty="0" smtClean="0"/>
              <a:t>Now if you look at the </a:t>
            </a:r>
            <a:r>
              <a:rPr lang="en-US" baseline="0" dirty="0" err="1" smtClean="0"/>
              <a:t>specializ</a:t>
            </a:r>
            <a:r>
              <a:rPr lang="en-US" baseline="0" dirty="0" smtClean="0"/>
              <a:t> approach you meet with the client/managers, but this time you’re simply trying to determine how they want the information gathered and reported back to them – what level of granularity and level of consensus is appropriate – </a:t>
            </a:r>
            <a:r>
              <a:rPr lang="en-US" baseline="0" dirty="0" err="1" smtClean="0"/>
              <a:t>avg</a:t>
            </a:r>
            <a:r>
              <a:rPr lang="en-US" baseline="0" dirty="0" smtClean="0"/>
              <a:t> 2 hours</a:t>
            </a:r>
          </a:p>
          <a:p>
            <a:pPr marL="177468" indent="-177468">
              <a:buFont typeface="Arial"/>
              <a:buChar char="•"/>
            </a:pPr>
            <a:r>
              <a:rPr lang="en-US" baseline="0" dirty="0" smtClean="0"/>
              <a:t>It takes about 30 minutes to configure the system</a:t>
            </a:r>
          </a:p>
          <a:p>
            <a:pPr marL="177468" indent="-177468">
              <a:buFont typeface="Arial"/>
              <a:buChar char="•"/>
            </a:pPr>
            <a:r>
              <a:rPr lang="en-US" baseline="0" dirty="0" smtClean="0"/>
              <a:t>You’ll need about an hour of subject matter expert time to manage the quality of the output. At the end of each iteration the topic manager would need to do a quick check to make sure nothing was left out, nothing irrelevant is included, and they can look at the line item percentage of agreement for each risk and decide whether any of them should be removed before the next iteration. The SME is able to help speed up the process and streamline everything.</a:t>
            </a:r>
          </a:p>
          <a:p>
            <a:pPr marL="177468" indent="-177468">
              <a:buFont typeface="Arial"/>
              <a:buChar char="•"/>
            </a:pPr>
            <a:r>
              <a:rPr lang="en-US" baseline="0" dirty="0" smtClean="0"/>
              <a:t>You can see the substantial time difference between workshops and </a:t>
            </a:r>
            <a:r>
              <a:rPr lang="en-US" baseline="0" dirty="0" err="1" smtClean="0"/>
              <a:t>specializ</a:t>
            </a:r>
            <a:r>
              <a:rPr lang="en-US" baseline="0" dirty="0" smtClean="0"/>
              <a:t> – 154 hours vs. 3.5 hour</a:t>
            </a:r>
          </a:p>
          <a:p>
            <a:pPr marL="177468" indent="-177468">
              <a:buFont typeface="Arial"/>
              <a:buChar char="•"/>
            </a:pPr>
            <a:r>
              <a:rPr lang="en-US" baseline="0" dirty="0" err="1" smtClean="0"/>
              <a:t>Specializ</a:t>
            </a:r>
            <a:r>
              <a:rPr lang="en-US" baseline="0" dirty="0" smtClean="0"/>
              <a:t> is able to collect information 44 times faster than with a workshop and there is guaranteed consensus and usable data</a:t>
            </a:r>
          </a:p>
          <a:p>
            <a:pPr marL="177468" indent="-177468">
              <a:buFont typeface="Arial"/>
              <a:buChar char="•"/>
            </a:pPr>
            <a:r>
              <a:rPr lang="en-US" baseline="0" dirty="0" smtClean="0"/>
              <a:t>There is no contest when it comes to applicability and accuracy of the data – </a:t>
            </a:r>
            <a:r>
              <a:rPr lang="en-US" baseline="0" dirty="0" err="1" smtClean="0"/>
              <a:t>specializ</a:t>
            </a:r>
            <a:r>
              <a:rPr lang="en-US" baseline="0" dirty="0" smtClean="0"/>
              <a:t> is much better because rather than only getting a few people’s ideas delivered in a non-standardized format, you get an easy and clear format for results and the participants have come to a consensus on the information collected.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9</a:t>
            </a:fld>
            <a:endParaRPr lang="en-AU" dirty="0"/>
          </a:p>
        </p:txBody>
      </p:sp>
    </p:spTree>
    <p:extLst>
      <p:ext uri="{BB962C8B-B14F-4D97-AF65-F5344CB8AC3E}">
        <p14:creationId xmlns:p14="http://schemas.microsoft.com/office/powerpoint/2010/main" val="13698849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As seen</a:t>
            </a:r>
            <a:r>
              <a:rPr lang="en-US" baseline="0" dirty="0" smtClean="0"/>
              <a:t> in that last slide, each issue across all 7 business units will require about 154 hours per incident using the workshop approach – the effort required is constant and duplicated across assessments, whereas </a:t>
            </a:r>
            <a:r>
              <a:rPr lang="en-US" baseline="0" dirty="0" err="1" smtClean="0"/>
              <a:t>specializ</a:t>
            </a:r>
            <a:r>
              <a:rPr lang="en-US" baseline="0" dirty="0" smtClean="0"/>
              <a:t> requires only 3.5 hours for the initial assessment and a fraction of that for each subsequent assessment, regardless of the topic of interest because you’ve already setup the logical groups. All you have to do is name the topic and select the business and functional units that should participate and push it out to them.</a:t>
            </a:r>
          </a:p>
          <a:p>
            <a:pPr marL="177468" indent="-177468">
              <a:buFont typeface="Arial"/>
              <a:buChar char="•"/>
            </a:pPr>
            <a:r>
              <a:rPr lang="en-US" baseline="0" dirty="0" smtClean="0"/>
              <a:t>One-off assessments can be accomplished in minutes if required – </a:t>
            </a:r>
            <a:r>
              <a:rPr lang="en-US" baseline="0" dirty="0" err="1" smtClean="0"/>
              <a:t>specializ</a:t>
            </a:r>
            <a:r>
              <a:rPr lang="en-US" baseline="0" dirty="0" smtClean="0"/>
              <a:t> is very flexible and can quickly adjust to changing circumstances and needs</a:t>
            </a:r>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0</a:t>
            </a:fld>
            <a:endParaRPr lang="en-AU" dirty="0"/>
          </a:p>
        </p:txBody>
      </p:sp>
    </p:spTree>
    <p:extLst>
      <p:ext uri="{BB962C8B-B14F-4D97-AF65-F5344CB8AC3E}">
        <p14:creationId xmlns:p14="http://schemas.microsoft.com/office/powerpoint/2010/main" val="864971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a:t>Workshops are difficult to coordinate and schedule with participants and pushes the dates out further</a:t>
            </a:r>
          </a:p>
          <a:p>
            <a:pPr marL="177468" indent="-177468">
              <a:buFont typeface="Arial"/>
              <a:buChar char="•"/>
            </a:pPr>
            <a:r>
              <a:rPr lang="en-US" dirty="0"/>
              <a:t>Workshop approach is not robust against biases, such as groupthink, so it depends on who is in the room as to what the outcome will be because certain people have greater influence on others which tends to lead the direction of the workshop</a:t>
            </a:r>
          </a:p>
          <a:p>
            <a:pPr marL="177468" indent="-177468">
              <a:buFont typeface="Arial"/>
              <a:buChar char="•"/>
            </a:pPr>
            <a:r>
              <a:rPr lang="en-US" dirty="0"/>
              <a:t>It’s also not robust against socially desirable responses – such as if a superior is present, participants may not be willing to disagree with him/her or be completely honest</a:t>
            </a:r>
          </a:p>
          <a:p>
            <a:pPr marL="177468" indent="-177468">
              <a:buFont typeface="Arial"/>
              <a:buChar char="•"/>
            </a:pPr>
            <a:r>
              <a:rPr lang="en-US" dirty="0"/>
              <a:t>There is no protection for anonymity of responses like </a:t>
            </a:r>
            <a:r>
              <a:rPr lang="en-US" dirty="0" err="1"/>
              <a:t>specializ</a:t>
            </a:r>
            <a:r>
              <a:rPr lang="en-US" dirty="0"/>
              <a:t> does, so all of the participants know how you voted and what you think about a particular thing, which does not lead to optimal responses because this makes many people uncomfortable and less forthcoming with information</a:t>
            </a:r>
          </a:p>
          <a:p>
            <a:pPr marL="177468" indent="-177468">
              <a:buFont typeface="Arial"/>
              <a:buChar char="•"/>
            </a:pPr>
            <a:r>
              <a:rPr lang="en-US" dirty="0"/>
              <a:t>Another problem is that there are no quantifiable risk statements – no way to validate at the line item level or the overall workshop level the consensus on risk. It is not being conducted in such a way that you can structure and quantify those types of results – it’s a different format</a:t>
            </a:r>
          </a:p>
          <a:p>
            <a:pPr marL="177468" indent="-177468">
              <a:buFont typeface="Arial"/>
              <a:buChar char="•"/>
            </a:pPr>
            <a:r>
              <a:rPr lang="en-US" dirty="0"/>
              <a:t>Standardized participant risk output is not comparable from workshop to workshop because they won’t be run exactly the same – there won’t be the same set of questions, the same criteria to assess risks </a:t>
            </a:r>
          </a:p>
          <a:p>
            <a:pPr marL="177468" indent="-177468">
              <a:buFont typeface="Arial"/>
              <a:buChar char="•"/>
            </a:pPr>
            <a:r>
              <a:rPr lang="en-US" dirty="0"/>
              <a:t>The </a:t>
            </a:r>
            <a:r>
              <a:rPr lang="en-US" dirty="0" err="1"/>
              <a:t>Specializ</a:t>
            </a:r>
            <a:r>
              <a:rPr lang="en-US" dirty="0"/>
              <a:t> approach is quite different.</a:t>
            </a:r>
          </a:p>
          <a:p>
            <a:pPr marL="177468" indent="-177468">
              <a:buFont typeface="Arial"/>
              <a:buChar char="•"/>
            </a:pPr>
            <a:r>
              <a:rPr lang="en-US" dirty="0"/>
              <a:t>Participants complete risk assessments online on their own time/schedule</a:t>
            </a:r>
          </a:p>
          <a:p>
            <a:pPr marL="177468" indent="-177468">
              <a:buFont typeface="Arial"/>
              <a:buChar char="•"/>
            </a:pPr>
            <a:r>
              <a:rPr lang="en-US" dirty="0"/>
              <a:t>They have the ability to feed off of </a:t>
            </a:r>
            <a:r>
              <a:rPr lang="en-US" dirty="0" err="1"/>
              <a:t>eachother’s</a:t>
            </a:r>
            <a:r>
              <a:rPr lang="en-US" dirty="0"/>
              <a:t> information – they get to see what everybody else put down as the risks, and respond to it but anonymously. </a:t>
            </a:r>
          </a:p>
          <a:p>
            <a:pPr marL="177468" indent="-177468">
              <a:buFont typeface="Arial"/>
              <a:buChar char="•"/>
            </a:pPr>
            <a:r>
              <a:rPr lang="en-US" dirty="0"/>
              <a:t>It’s calculating consensus at a line item level and it ensures that group consensus is achieved before the assessment is finalized. So you are guaranteed stakeholder buy in and consensus before the process ends</a:t>
            </a:r>
          </a:p>
          <a:p>
            <a:pPr marL="177468" indent="-177468">
              <a:buFont typeface="Arial"/>
              <a:buChar char="•"/>
            </a:pPr>
            <a:r>
              <a:rPr lang="en-US" dirty="0"/>
              <a:t>It does produce comparable risk assessments across the entire organization – you can take what you do in one area and replicate it another area and directly compare the results from one group to the next because of the way the tool is structured </a:t>
            </a:r>
          </a:p>
          <a:p>
            <a:pPr marL="177468" indent="-177468">
              <a:buFont typeface="Arial"/>
              <a:buChar char="•"/>
            </a:pPr>
            <a:r>
              <a:rPr lang="en-US" dirty="0"/>
              <a:t>Perhaps one of the best things about </a:t>
            </a:r>
            <a:r>
              <a:rPr lang="en-US" dirty="0" err="1"/>
              <a:t>specializ</a:t>
            </a:r>
            <a:r>
              <a:rPr lang="en-US" dirty="0"/>
              <a:t> is that rather than  taking an inordinate amount of time, participants can complete a risk assessment in 5-10 minutes</a:t>
            </a:r>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1</a:t>
            </a:fld>
            <a:endParaRPr lang="en-AU" dirty="0"/>
          </a:p>
        </p:txBody>
      </p:sp>
    </p:spTree>
    <p:extLst>
      <p:ext uri="{BB962C8B-B14F-4D97-AF65-F5344CB8AC3E}">
        <p14:creationId xmlns:p14="http://schemas.microsoft.com/office/powerpoint/2010/main" val="40141055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Now lets look at some of the risk assessment statistics</a:t>
            </a:r>
          </a:p>
          <a:p>
            <a:pPr marL="177468" indent="-177468">
              <a:buFont typeface="Arial"/>
              <a:buChar char="•"/>
            </a:pPr>
            <a:r>
              <a:rPr lang="en-US" dirty="0" smtClean="0"/>
              <a:t>With the workshop approach the manager’s time cost would be 22 hours x 7 lines</a:t>
            </a:r>
            <a:r>
              <a:rPr lang="en-US" baseline="0" dirty="0" smtClean="0"/>
              <a:t> x $100 = $15,400</a:t>
            </a:r>
          </a:p>
          <a:p>
            <a:pPr marL="177468" indent="-177468">
              <a:buFont typeface="Arial"/>
              <a:buChar char="•"/>
            </a:pPr>
            <a:r>
              <a:rPr lang="en-US" baseline="0" dirty="0" smtClean="0"/>
              <a:t>Participants time cost would be: 10 participants, 7 workshops x 4 hours each x $100 per hour = $28,000</a:t>
            </a:r>
          </a:p>
          <a:p>
            <a:pPr marL="177468" indent="-177468">
              <a:buFont typeface="Arial"/>
              <a:buChar char="•"/>
            </a:pPr>
            <a:r>
              <a:rPr lang="en-US" baseline="0" dirty="0" err="1" smtClean="0"/>
              <a:t>Specializ</a:t>
            </a:r>
            <a:r>
              <a:rPr lang="en-US" baseline="0" dirty="0" smtClean="0"/>
              <a:t> the manager’s time cost would be: 3.5 hours to setup x $100 per hour = $350, but this is for the initial assessment, each consecutive assessment will take only minutes.</a:t>
            </a:r>
          </a:p>
          <a:p>
            <a:pPr marL="177468" indent="-177468">
              <a:buFont typeface="Arial"/>
              <a:buChar char="•"/>
            </a:pPr>
            <a:r>
              <a:rPr lang="en-US" baseline="0" dirty="0" smtClean="0"/>
              <a:t>10 participants, 7 lines of business x 45 minutes x $100 per hour = $5250</a:t>
            </a:r>
          </a:p>
          <a:p>
            <a:pPr marL="177468" indent="-177468">
              <a:buFont typeface="Arial"/>
              <a:buChar char="•"/>
            </a:pPr>
            <a:r>
              <a:rPr lang="en-US" baseline="0" dirty="0" smtClean="0"/>
              <a:t>This isn’t even including the accuracy benefits of </a:t>
            </a:r>
            <a:r>
              <a:rPr lang="en-US" baseline="0" dirty="0" err="1" smtClean="0"/>
              <a:t>Specializ</a:t>
            </a:r>
            <a:r>
              <a:rPr lang="en-US" baseline="0" dirty="0" smtClean="0"/>
              <a:t> – with the tool you are able to include entire populations rather than a small sample of people, you also get consensus and buy-in, and much more accurate and detailed information</a:t>
            </a:r>
          </a:p>
          <a:p>
            <a:pPr marL="177468" indent="-177468">
              <a:buFont typeface="Arial"/>
              <a:buChar char="•"/>
            </a:pPr>
            <a:r>
              <a:rPr lang="en-US" baseline="0" dirty="0" smtClean="0"/>
              <a:t>From the risk manager’s standpoint you may discover risks that you never would’ve come up with had you only asked a few people, but by utilizing all the relevant people  you are able to find risks that otherwise may have been overlooked – that will result in huge cost savings </a:t>
            </a:r>
          </a:p>
          <a:p>
            <a:pPr marL="177468" indent="-177468">
              <a:buFont typeface="Arial"/>
              <a:buChar char="•"/>
            </a:pPr>
            <a:r>
              <a:rPr lang="en-US" baseline="0" dirty="0" smtClean="0"/>
              <a:t>Lets say you’re looking at quantifiable dollar at risk amounts, for a particular type of risk, if you had estimates that were on the books at lets say $500,000 but through the </a:t>
            </a:r>
            <a:r>
              <a:rPr lang="en-US" baseline="0" dirty="0" err="1" smtClean="0"/>
              <a:t>specializ</a:t>
            </a:r>
            <a:r>
              <a:rPr lang="en-US" baseline="0" dirty="0" smtClean="0"/>
              <a:t> process and gaining consensus from the entire group of people that have expertise on this they value it at $50,000, then the amount of money you’d be willing to spend to mitigate that risk would drastically decrease. </a:t>
            </a:r>
          </a:p>
          <a:p>
            <a:pPr marL="177468" indent="-177468">
              <a:buFont typeface="Arial"/>
              <a:buChar char="•"/>
            </a:pPr>
            <a:r>
              <a:rPr lang="en-US" baseline="0" dirty="0" smtClean="0"/>
              <a:t>Just from the time perspective with workshops, you would only be able to complete 12 per year per risk manager, but with </a:t>
            </a:r>
            <a:r>
              <a:rPr lang="en-US" baseline="0" dirty="0" err="1" smtClean="0"/>
              <a:t>specializ</a:t>
            </a:r>
            <a:r>
              <a:rPr lang="en-US" baseline="0" dirty="0" smtClean="0"/>
              <a:t> you could perform up to 900 risk assessments with just one risk manager.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2</a:t>
            </a:fld>
            <a:endParaRPr lang="en-AU" dirty="0"/>
          </a:p>
        </p:txBody>
      </p:sp>
    </p:spTree>
    <p:extLst>
      <p:ext uri="{BB962C8B-B14F-4D97-AF65-F5344CB8AC3E}">
        <p14:creationId xmlns:p14="http://schemas.microsoft.com/office/powerpoint/2010/main" val="124668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Looking at the process overall is incredibly easy from a user standpoint, which is one of the most compelling pieces of the application. </a:t>
            </a:r>
          </a:p>
          <a:p>
            <a:pPr marL="177468" indent="-177468">
              <a:buFont typeface="Arial"/>
              <a:buChar char="•"/>
            </a:pPr>
            <a:r>
              <a:rPr lang="en-US" dirty="0" err="1" smtClean="0"/>
              <a:t>Specializ</a:t>
            </a:r>
            <a:r>
              <a:rPr lang="en-US" dirty="0" smtClean="0"/>
              <a:t> sends assessments to enterprise participants that have been</a:t>
            </a:r>
            <a:r>
              <a:rPr lang="en-US" baseline="0" dirty="0" smtClean="0"/>
              <a:t> identified as having expertise in that specific area.</a:t>
            </a:r>
          </a:p>
          <a:p>
            <a:pPr marL="177468" indent="-177468">
              <a:buFont typeface="Arial"/>
              <a:buChar char="•"/>
            </a:pPr>
            <a:r>
              <a:rPr lang="en-US" baseline="0" dirty="0" smtClean="0"/>
              <a:t>They receive a list of risks and are able to respond to those risks. They can add new risks, delete risks, edit risks, add attributes, etc. And that generates the risk data. </a:t>
            </a:r>
          </a:p>
          <a:p>
            <a:pPr marL="177468" indent="-177468">
              <a:buFont typeface="Arial"/>
              <a:buChar char="•"/>
            </a:pPr>
            <a:r>
              <a:rPr lang="en-US" baseline="0" dirty="0" smtClean="0"/>
              <a:t>Then once the compiled list is sent out to all the participants, they can see what everyone else thinks and rate and evaluate each risk individually. It then collates them and gives the risk manager a detailed report of the line item consensus  which enable him to delete risks, add risks, </a:t>
            </a:r>
            <a:r>
              <a:rPr lang="en-US" baseline="0" dirty="0" err="1" smtClean="0"/>
              <a:t>etc</a:t>
            </a:r>
            <a:r>
              <a:rPr lang="en-US" baseline="0" dirty="0" smtClean="0"/>
              <a:t> as a form of quality control.</a:t>
            </a:r>
          </a:p>
          <a:p>
            <a:pPr marL="177468" indent="-177468">
              <a:buFont typeface="Arial"/>
              <a:buChar char="•"/>
            </a:pPr>
            <a:r>
              <a:rPr lang="en-US" baseline="0" dirty="0" smtClean="0"/>
              <a:t>This process will continue fine-tuning their rankings of the risks until group consensus level is reached. </a:t>
            </a:r>
          </a:p>
          <a:p>
            <a:pPr marL="177468" indent="-177468">
              <a:buFont typeface="Arial"/>
              <a:buChar char="•"/>
            </a:pPr>
            <a:r>
              <a:rPr lang="en-US" baseline="0" dirty="0" smtClean="0"/>
              <a:t>It’s a fast and efficient process. Generally you can reach consensus in about 3 iterations. </a:t>
            </a:r>
            <a:endParaRPr lang="en-US" dirty="0" smtClean="0"/>
          </a:p>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3</a:t>
            </a:fld>
            <a:endParaRPr lang="en-AU" dirty="0"/>
          </a:p>
        </p:txBody>
      </p:sp>
    </p:spTree>
    <p:extLst>
      <p:ext uri="{BB962C8B-B14F-4D97-AF65-F5344CB8AC3E}">
        <p14:creationId xmlns:p14="http://schemas.microsoft.com/office/powerpoint/2010/main" val="31181816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4</a:t>
            </a:fld>
            <a:endParaRPr lang="en-AU" dirty="0"/>
          </a:p>
        </p:txBody>
      </p:sp>
    </p:spTree>
    <p:extLst>
      <p:ext uri="{BB962C8B-B14F-4D97-AF65-F5344CB8AC3E}">
        <p14:creationId xmlns:p14="http://schemas.microsoft.com/office/powerpoint/2010/main" val="2719889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5</a:t>
            </a:fld>
            <a:endParaRPr lang="en-AU" dirty="0"/>
          </a:p>
        </p:txBody>
      </p:sp>
    </p:spTree>
    <p:extLst>
      <p:ext uri="{BB962C8B-B14F-4D97-AF65-F5344CB8AC3E}">
        <p14:creationId xmlns:p14="http://schemas.microsoft.com/office/powerpoint/2010/main" val="5301310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This slide</a:t>
            </a:r>
            <a:r>
              <a:rPr lang="en-AU" baseline="0" dirty="0" smtClean="0"/>
              <a:t> contains the business case, i.e. the costs and benefits related to Macquarie Bank adopting Specializ. We made some assumptions which we can further validate but the cost side for an enterprise license is roughly $32,000 annually.</a:t>
            </a:r>
          </a:p>
          <a:p>
            <a:endParaRPr lang="en-AU" baseline="0" dirty="0" smtClean="0"/>
          </a:p>
          <a:p>
            <a:r>
              <a:rPr lang="en-AU" baseline="0" dirty="0" smtClean="0"/>
              <a:t>The benefits are derived from savings from bettering mitigation strategies and fewer losses, fewer engagements with consulting firms, increased accuracy in risk management by allowing broad amounts of employees to own the data and findings and less money spent on risk treatment from better matching of risks to agreed upon impacts by tactical, operational and strategic staff members.</a:t>
            </a:r>
          </a:p>
          <a:p>
            <a:endParaRPr lang="en-AU" baseline="0" dirty="0" smtClean="0"/>
          </a:p>
          <a:p>
            <a:r>
              <a:rPr lang="en-AU" baseline="0" dirty="0" smtClean="0"/>
              <a:t>Acknowledging the assumptions are reasonable then the benefits of Specializ drastically outweigh its costs. It should be noted that the costs remain static and this use case is only for risk management, the tool may also be used for compliance, audit (testing), assessment in OH&amp;S, BCM, </a:t>
            </a:r>
            <a:r>
              <a:rPr lang="en-AU" baseline="0" dirty="0" err="1" smtClean="0"/>
              <a:t>etc</a:t>
            </a:r>
            <a:r>
              <a:rPr lang="en-AU" baseline="0" dirty="0" smtClean="0"/>
              <a:t>, financial compliance with Basel III/Solvency II, requirements definition, product development plus many more areas.</a:t>
            </a:r>
          </a:p>
          <a:p>
            <a:endParaRPr lang="en-AU" baseline="0" dirty="0" smtClean="0"/>
          </a:p>
          <a:p>
            <a:r>
              <a:rPr lang="en-AU" baseline="0" dirty="0" smtClean="0"/>
              <a:t>The more Specializ is used the more opportunity for cost savings, better accuracy and validity of organisational information.</a:t>
            </a:r>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0</a:t>
            </a:fld>
            <a:endParaRPr lang="en-AU" dirty="0"/>
          </a:p>
        </p:txBody>
      </p:sp>
    </p:spTree>
    <p:extLst>
      <p:ext uri="{BB962C8B-B14F-4D97-AF65-F5344CB8AC3E}">
        <p14:creationId xmlns:p14="http://schemas.microsoft.com/office/powerpoint/2010/main" val="32903890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1</a:t>
            </a:fld>
            <a:endParaRPr lang="en-AU" dirty="0"/>
          </a:p>
        </p:txBody>
      </p:sp>
    </p:spTree>
    <p:extLst>
      <p:ext uri="{BB962C8B-B14F-4D97-AF65-F5344CB8AC3E}">
        <p14:creationId xmlns:p14="http://schemas.microsoft.com/office/powerpoint/2010/main" val="19870770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2</a:t>
            </a:fld>
            <a:endParaRPr lang="en-AU" dirty="0"/>
          </a:p>
        </p:txBody>
      </p:sp>
    </p:spTree>
    <p:extLst>
      <p:ext uri="{BB962C8B-B14F-4D97-AF65-F5344CB8AC3E}">
        <p14:creationId xmlns:p14="http://schemas.microsoft.com/office/powerpoint/2010/main" val="2699607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a:t>
            </a:fld>
            <a:endParaRPr lang="en-AU" dirty="0"/>
          </a:p>
        </p:txBody>
      </p:sp>
    </p:spTree>
    <p:extLst>
      <p:ext uri="{BB962C8B-B14F-4D97-AF65-F5344CB8AC3E}">
        <p14:creationId xmlns:p14="http://schemas.microsoft.com/office/powerpoint/2010/main" val="2341617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err="1" smtClean="0"/>
              <a:t>Specializ</a:t>
            </a:r>
            <a:r>
              <a:rPr lang="en-US" dirty="0" smtClean="0"/>
              <a:t> is an information elicitation,</a:t>
            </a:r>
            <a:r>
              <a:rPr lang="en-US" baseline="0" dirty="0" smtClean="0"/>
              <a:t> gathering, and validation tool. </a:t>
            </a:r>
          </a:p>
          <a:p>
            <a:pPr marL="177468" indent="-177468">
              <a:buFont typeface="Arial"/>
              <a:buChar char="•"/>
            </a:pPr>
            <a:r>
              <a:rPr lang="en-US" baseline="0" dirty="0" smtClean="0"/>
              <a:t>It’s designed to pull in large numbers of people in a particular area and get their input on a particular topic.</a:t>
            </a:r>
          </a:p>
          <a:p>
            <a:pPr marL="177468" indent="-177468">
              <a:buFont typeface="Arial"/>
              <a:buChar char="•"/>
            </a:pPr>
            <a:r>
              <a:rPr lang="en-US" baseline="0" dirty="0" smtClean="0"/>
              <a:t>For example, we could identify controls per group, per geography, and then define criticality, owner, test plans, and maturity per control and manage to gain consensus on all of it.</a:t>
            </a:r>
          </a:p>
          <a:p>
            <a:pPr marL="177468" indent="-177468">
              <a:buFont typeface="Arial"/>
              <a:buChar char="•"/>
            </a:pPr>
            <a:r>
              <a:rPr lang="en-US" baseline="0" dirty="0" err="1" smtClean="0"/>
              <a:t>Specializ</a:t>
            </a:r>
            <a:r>
              <a:rPr lang="en-US" baseline="0" dirty="0" smtClean="0"/>
              <a:t> utilizes population instead of samples and guarantees consensus among participants – the more relevant people that participate the more accurate your information will be which can translate into hundreds of thousands of dollars. Give insurance valuation example with transfer of risk.</a:t>
            </a:r>
          </a:p>
          <a:p>
            <a:pPr marL="177468" indent="-177468">
              <a:buFont typeface="Arial"/>
              <a:buChar char="•"/>
            </a:pPr>
            <a:r>
              <a:rPr lang="en-US" baseline="0" dirty="0" smtClean="0"/>
              <a:t>The information gathered with the tool is structured in such a way that you can easily compare across business units and functions and it reports it all back to you in an easy to understand format. </a:t>
            </a:r>
          </a:p>
          <a:p>
            <a:pPr marL="177468" indent="-177468">
              <a:buFont typeface="Arial"/>
              <a:buChar char="•"/>
            </a:pPr>
            <a:r>
              <a:rPr lang="en-US" baseline="0" dirty="0" smtClean="0"/>
              <a:t>Behind the scenes, </a:t>
            </a:r>
            <a:r>
              <a:rPr lang="en-US" baseline="0" dirty="0" err="1" smtClean="0"/>
              <a:t>specializ</a:t>
            </a:r>
            <a:r>
              <a:rPr lang="en-US" baseline="0" dirty="0" smtClean="0"/>
              <a:t> is using the Delphi Technique, which was designed by the Rand Corporation in the 1940s to generate rich contextual information from participants and gain consensus on that information.</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err="1" smtClean="0"/>
              <a:t>Specializ</a:t>
            </a:r>
            <a:r>
              <a:rPr lang="en-US" dirty="0" smtClean="0"/>
              <a:t> is an information elicitation,</a:t>
            </a:r>
            <a:r>
              <a:rPr lang="en-US" baseline="0" dirty="0" smtClean="0"/>
              <a:t> gathering, and validation tool. </a:t>
            </a:r>
          </a:p>
          <a:p>
            <a:pPr marL="177468" indent="-177468">
              <a:buFont typeface="Arial"/>
              <a:buChar char="•"/>
            </a:pPr>
            <a:r>
              <a:rPr lang="en-US" baseline="0" dirty="0" smtClean="0"/>
              <a:t>It’s designed to pull in large numbers of people in a particular area and get their input on a particular topic.</a:t>
            </a:r>
          </a:p>
          <a:p>
            <a:pPr marL="177468" indent="-177468">
              <a:buFont typeface="Arial"/>
              <a:buChar char="•"/>
            </a:pPr>
            <a:r>
              <a:rPr lang="en-US" baseline="0" dirty="0" smtClean="0"/>
              <a:t>For example, we could identify controls per group, per geography, and then define criticality, owner, test plans, and maturity per control and manage to gain consensus on all of it.</a:t>
            </a:r>
          </a:p>
          <a:p>
            <a:pPr marL="177468" indent="-177468">
              <a:buFont typeface="Arial"/>
              <a:buChar char="•"/>
            </a:pPr>
            <a:r>
              <a:rPr lang="en-US" baseline="0" dirty="0" err="1" smtClean="0"/>
              <a:t>Specializ</a:t>
            </a:r>
            <a:r>
              <a:rPr lang="en-US" baseline="0" dirty="0" smtClean="0"/>
              <a:t> utilizes population instead of samples and guarantees consensus among participants – the more relevant people that participate the more accurate your information will be which can translate into hundreds of thousands of dollars. Give insurance valuation example with transfer of risk.</a:t>
            </a:r>
          </a:p>
          <a:p>
            <a:pPr marL="177468" indent="-177468">
              <a:buFont typeface="Arial"/>
              <a:buChar char="•"/>
            </a:pPr>
            <a:r>
              <a:rPr lang="en-US" baseline="0" dirty="0" smtClean="0"/>
              <a:t>The information gathered with the tool is structured in such a way that you can easily compare across business units and functions and it reports it all back to you in an easy to understand format. </a:t>
            </a:r>
          </a:p>
          <a:p>
            <a:pPr marL="177468" indent="-177468">
              <a:buFont typeface="Arial"/>
              <a:buChar char="•"/>
            </a:pPr>
            <a:r>
              <a:rPr lang="en-US" baseline="0" dirty="0" smtClean="0"/>
              <a:t>Behind the scenes, </a:t>
            </a:r>
            <a:r>
              <a:rPr lang="en-US" baseline="0" dirty="0" err="1" smtClean="0"/>
              <a:t>specializ</a:t>
            </a:r>
            <a:r>
              <a:rPr lang="en-US" baseline="0" dirty="0" smtClean="0"/>
              <a:t> is using the Delphi Technique, which was designed by the Rand Corporation in the 1940s to generate rich contextual information from participants and gain consensus on that information.</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3</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This diagram represents the way </a:t>
            </a:r>
            <a:r>
              <a:rPr lang="en-US" dirty="0" err="1" smtClean="0"/>
              <a:t>specializ</a:t>
            </a:r>
            <a:r>
              <a:rPr lang="en-US" baseline="0" dirty="0" smtClean="0"/>
              <a:t> collects, stores, and processes information.</a:t>
            </a:r>
          </a:p>
          <a:p>
            <a:pPr marL="177468" indent="-177468">
              <a:buFont typeface="Arial"/>
              <a:buChar char="•"/>
            </a:pPr>
            <a:r>
              <a:rPr lang="en-US" baseline="0" dirty="0" smtClean="0"/>
              <a:t>What you’re looking at is risk registers within functional groups within countries, this would be the design. In this example, we have 4 countries in which we have selected different functional groups in order to develop bottom-up risk registers. </a:t>
            </a:r>
          </a:p>
          <a:p>
            <a:pPr marL="177468" indent="-177468">
              <a:buFont typeface="Arial"/>
              <a:buChar char="•"/>
            </a:pPr>
            <a:r>
              <a:rPr lang="en-US" baseline="0" dirty="0" smtClean="0"/>
              <a:t>The real power in this application is its ability to send assessments to logical groups of people. It can route assessments to the right groups of people. </a:t>
            </a:r>
          </a:p>
          <a:p>
            <a:pPr marL="177468" indent="-177468">
              <a:buFont typeface="Arial"/>
              <a:buChar char="•"/>
            </a:pPr>
            <a:r>
              <a:rPr lang="en-US" baseline="0" dirty="0" smtClean="0"/>
              <a:t>Business units, functions, roles, risks</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4</a:t>
            </a:fld>
            <a:endParaRPr lang="en-AU" dirty="0"/>
          </a:p>
        </p:txBody>
      </p:sp>
    </p:spTree>
    <p:extLst>
      <p:ext uri="{BB962C8B-B14F-4D97-AF65-F5344CB8AC3E}">
        <p14:creationId xmlns:p14="http://schemas.microsoft.com/office/powerpoint/2010/main" val="29152424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r>
              <a:rPr lang="en-US" dirty="0" smtClean="0"/>
              <a:t>You can deploy</a:t>
            </a:r>
            <a:r>
              <a:rPr lang="en-US" baseline="0" dirty="0" smtClean="0"/>
              <a:t> </a:t>
            </a:r>
            <a:r>
              <a:rPr lang="en-US" baseline="0" dirty="0" err="1" smtClean="0"/>
              <a:t>Specializ</a:t>
            </a:r>
            <a:r>
              <a:rPr lang="en-US" baseline="0" dirty="0" smtClean="0"/>
              <a:t> in 1 of 3 ways:</a:t>
            </a:r>
          </a:p>
          <a:p>
            <a:pPr marL="236624" indent="-236624">
              <a:buAutoNum type="arabicPeriod"/>
            </a:pPr>
            <a:r>
              <a:rPr lang="en-US" baseline="0" dirty="0" smtClean="0"/>
              <a:t>We can deploy the application to Amazon EC2 environment and we can manage it for you</a:t>
            </a:r>
          </a:p>
          <a:p>
            <a:pPr marL="236624" indent="-236624">
              <a:buAutoNum type="arabicPeriod"/>
            </a:pPr>
            <a:r>
              <a:rPr lang="en-US" baseline="0" dirty="0" smtClean="0"/>
              <a:t>You can deploy </a:t>
            </a:r>
            <a:r>
              <a:rPr lang="en-US" baseline="0" dirty="0" err="1" smtClean="0"/>
              <a:t>Specializ</a:t>
            </a:r>
            <a:r>
              <a:rPr lang="en-US" baseline="0" dirty="0" smtClean="0"/>
              <a:t> directly to your environment using a </a:t>
            </a:r>
            <a:r>
              <a:rPr lang="en-US" baseline="0" dirty="0" err="1" smtClean="0"/>
              <a:t>VMWare</a:t>
            </a:r>
            <a:r>
              <a:rPr lang="en-US" baseline="0" dirty="0" smtClean="0"/>
              <a:t> Linux instance. </a:t>
            </a:r>
          </a:p>
          <a:p>
            <a:pPr marL="236624" indent="-236624">
              <a:buAutoNum type="arabicPeriod"/>
            </a:pPr>
            <a:r>
              <a:rPr lang="en-US" baseline="0" dirty="0" smtClean="0"/>
              <a:t>You can deploy it to Amazon EC2 or Rackspace Australia and you can manage it yourself. We can push updates and bug fixes, but we won’t have any access beyond that. </a:t>
            </a:r>
          </a:p>
          <a:p>
            <a:pPr marL="177468" indent="-177468">
              <a:buFont typeface="Arial"/>
              <a:buChar char="•"/>
            </a:pPr>
            <a:r>
              <a:rPr lang="en-US" baseline="0" dirty="0" smtClean="0"/>
              <a:t>There is no complicated technical implementation with </a:t>
            </a:r>
            <a:r>
              <a:rPr lang="en-US" baseline="0" dirty="0" err="1" smtClean="0"/>
              <a:t>Specializ</a:t>
            </a:r>
            <a:endParaRPr lang="en-US" baseline="0" dirty="0" smtClean="0"/>
          </a:p>
          <a:p>
            <a:pPr marL="177468" indent="-177468">
              <a:buFont typeface="Arial"/>
              <a:buChar char="•"/>
            </a:pPr>
            <a:r>
              <a:rPr lang="en-US" baseline="0" dirty="0" smtClean="0"/>
              <a:t>There is no functional implementation associated with </a:t>
            </a:r>
            <a:r>
              <a:rPr lang="en-US" baseline="0" dirty="0" err="1" smtClean="0"/>
              <a:t>Specializ</a:t>
            </a:r>
            <a:r>
              <a:rPr lang="en-US" baseline="0" dirty="0" smtClean="0"/>
              <a:t> – all that you have to do is setup your organizational hierarchy and you’re ready to go.</a:t>
            </a:r>
          </a:p>
          <a:p>
            <a:pPr marL="177468" indent="-177468">
              <a:buFont typeface="Arial"/>
              <a:buChar char="•"/>
            </a:pPr>
            <a:r>
              <a:rPr lang="en-US" baseline="0" dirty="0" smtClean="0"/>
              <a:t>Lastly, in terms of implementation, you can pass through authentication to an LDAP source or active directory for user management – the tool is also setup to login in via </a:t>
            </a:r>
            <a:r>
              <a:rPr lang="en-US" baseline="0" dirty="0" err="1" smtClean="0"/>
              <a:t>facebook</a:t>
            </a:r>
            <a:r>
              <a:rPr lang="en-US" baseline="0" dirty="0" smtClean="0"/>
              <a:t>, linked in, and twitter if that’s something you’d like to use</a:t>
            </a:r>
          </a:p>
          <a:p>
            <a:pPr marL="177468" indent="-177468">
              <a:buFont typeface="Arial"/>
              <a:buChar char="•"/>
            </a:pPr>
            <a:r>
              <a:rPr lang="en-US" baseline="0" dirty="0" smtClean="0"/>
              <a:t>The implementation is very straightforward and there are no hidden difficulties involved</a:t>
            </a:r>
          </a:p>
          <a:p>
            <a:pPr marL="177468" indent="-177468">
              <a:buFont typeface="Arial"/>
              <a:buChar char="•"/>
            </a:pPr>
            <a:r>
              <a:rPr lang="en-US" baseline="0" dirty="0" err="1" smtClean="0"/>
              <a:t>Specializ</a:t>
            </a:r>
            <a:r>
              <a:rPr lang="en-US" baseline="0" dirty="0" smtClean="0"/>
              <a:t> is also very intuitive and easy to use from a user standpoint as well – participants will catch on immediately and no training is necessary</a:t>
            </a:r>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5</a:t>
            </a:fld>
            <a:endParaRPr lang="en-AU" dirty="0"/>
          </a:p>
        </p:txBody>
      </p:sp>
    </p:spTree>
    <p:extLst>
      <p:ext uri="{BB962C8B-B14F-4D97-AF65-F5344CB8AC3E}">
        <p14:creationId xmlns:p14="http://schemas.microsoft.com/office/powerpoint/2010/main" val="3806545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Now lets discuss </a:t>
            </a:r>
            <a:r>
              <a:rPr lang="en-US" dirty="0" err="1" smtClean="0"/>
              <a:t>Specializ’s</a:t>
            </a:r>
            <a:r>
              <a:rPr lang="en-US" dirty="0" smtClean="0"/>
              <a:t> capabilities a bit more</a:t>
            </a:r>
            <a:r>
              <a:rPr lang="en-US" baseline="0" dirty="0" smtClean="0"/>
              <a:t>. As I said before, </a:t>
            </a:r>
            <a:r>
              <a:rPr lang="en-US" baseline="0" dirty="0" err="1" smtClean="0"/>
              <a:t>Specializ</a:t>
            </a:r>
            <a:r>
              <a:rPr lang="en-US" baseline="0" dirty="0" smtClean="0"/>
              <a:t> is an information elicitation and validation tool with many different uses and applications.</a:t>
            </a:r>
          </a:p>
          <a:p>
            <a:pPr marL="177468" indent="-177468">
              <a:buFont typeface="Arial"/>
              <a:buChar char="•"/>
            </a:pPr>
            <a:r>
              <a:rPr lang="en-US" baseline="0" dirty="0" smtClean="0"/>
              <a:t>All of these solutions are already built into the application and you are welcome to use any of them, and if there is one that you would like we can create a library for it in about 3 days. </a:t>
            </a:r>
          </a:p>
          <a:p>
            <a:pPr marL="177468" indent="-177468">
              <a:buFont typeface="Arial"/>
              <a:buChar char="•"/>
            </a:pPr>
            <a:r>
              <a:rPr lang="en-US" baseline="0" dirty="0" smtClean="0"/>
              <a:t>You can take any piece of legislation or framework and take all the requirements and push them through </a:t>
            </a:r>
            <a:r>
              <a:rPr lang="en-US" baseline="0" dirty="0" err="1" smtClean="0"/>
              <a:t>Specializ</a:t>
            </a:r>
            <a:r>
              <a:rPr lang="en-US" baseline="0" dirty="0" smtClean="0"/>
              <a:t>, generate assessments, and send them out to relevant people and get the results back in a very structured way that can easily be matched to requirements of a policy or piece of legislation. </a:t>
            </a:r>
          </a:p>
          <a:p>
            <a:pPr marL="177468" indent="-177468">
              <a:buFont typeface="Arial"/>
              <a:buChar char="•"/>
            </a:pPr>
            <a:r>
              <a:rPr lang="en-US" baseline="0" dirty="0" smtClean="0"/>
              <a:t>I actually completed a project with Accenture last year that used </a:t>
            </a:r>
            <a:r>
              <a:rPr lang="en-US" baseline="0" dirty="0" err="1" smtClean="0"/>
              <a:t>Specializ</a:t>
            </a:r>
            <a:r>
              <a:rPr lang="en-US" baseline="0" dirty="0" smtClean="0"/>
              <a:t> to meet the ISO27000 certification requirements. It saved us an unbelievable amount of time using the application rather than conducting workshops to map all of the processes and complete a gap analysis.</a:t>
            </a:r>
          </a:p>
          <a:p>
            <a:pPr marL="177468" indent="-177468">
              <a:buFont typeface="Arial"/>
              <a:buChar char="•"/>
            </a:pPr>
            <a:r>
              <a:rPr lang="en-US" baseline="0" dirty="0" err="1" smtClean="0"/>
              <a:t>Specializ</a:t>
            </a:r>
            <a:r>
              <a:rPr lang="en-US" baseline="0" dirty="0" smtClean="0"/>
              <a:t> can help make the most daunting tasks and make them easy, quick, efficient, and useful. </a:t>
            </a:r>
          </a:p>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6</a:t>
            </a:fld>
            <a:endParaRPr lang="en-AU" dirty="0"/>
          </a:p>
        </p:txBody>
      </p:sp>
    </p:spTree>
    <p:extLst>
      <p:ext uri="{BB962C8B-B14F-4D97-AF65-F5344CB8AC3E}">
        <p14:creationId xmlns:p14="http://schemas.microsoft.com/office/powerpoint/2010/main" val="28874807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Those</a:t>
            </a:r>
            <a:r>
              <a:rPr lang="en-US" baseline="0" dirty="0" smtClean="0"/>
              <a:t> are just a few examples of what you can do with </a:t>
            </a:r>
            <a:r>
              <a:rPr lang="en-US" baseline="0" dirty="0" err="1" smtClean="0"/>
              <a:t>Specializ</a:t>
            </a:r>
            <a:r>
              <a:rPr lang="en-US" baseline="0" dirty="0" smtClean="0"/>
              <a:t>, but today we are going to focus on risk management.</a:t>
            </a:r>
          </a:p>
          <a:p>
            <a:pPr marL="177468" indent="-177468">
              <a:buFont typeface="Arial"/>
              <a:buChar char="•"/>
            </a:pPr>
            <a:r>
              <a:rPr lang="en-US" baseline="0" dirty="0" smtClean="0"/>
              <a:t>Now we are going to compare the process that most firms go through using the workshop approach to what you could do with </a:t>
            </a:r>
            <a:r>
              <a:rPr lang="en-US" baseline="0" dirty="0" err="1" smtClean="0"/>
              <a:t>Specializ</a:t>
            </a:r>
            <a:endParaRPr lang="en-US" baseline="0" dirty="0" smtClean="0"/>
          </a:p>
          <a:p>
            <a:pPr marL="177468" indent="-177468">
              <a:buFont typeface="Arial"/>
              <a:buChar char="•"/>
            </a:pPr>
            <a:r>
              <a:rPr lang="en-US" baseline="0" dirty="0" smtClean="0"/>
              <a:t>In this example we are going to look at a bank and its 7 lines of business. We will look at objective, risks, and controls in this example.</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7</a:t>
            </a:fld>
            <a:endParaRPr lang="en-AU" dirty="0"/>
          </a:p>
        </p:txBody>
      </p:sp>
    </p:spTree>
    <p:extLst>
      <p:ext uri="{BB962C8B-B14F-4D97-AF65-F5344CB8AC3E}">
        <p14:creationId xmlns:p14="http://schemas.microsoft.com/office/powerpoint/2010/main" val="363156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sz="1000" dirty="0">
                <a:latin typeface="Times New Roman"/>
                <a:cs typeface="Times New Roman"/>
              </a:rPr>
              <a:t>Workshops are used extensively for ERM since it is a method to illicit information from participants, but there are quite a few problems with this method. </a:t>
            </a:r>
          </a:p>
          <a:p>
            <a:pPr marL="236624" indent="-236624">
              <a:buFont typeface="Arial"/>
              <a:buAutoNum type="arabicPeriod"/>
            </a:pPr>
            <a:r>
              <a:rPr lang="en-US" sz="1000" dirty="0">
                <a:latin typeface="Times New Roman"/>
                <a:cs typeface="Times New Roman"/>
              </a:rPr>
              <a:t>Workshops take a considerable amount of stakeholder time and commitment.</a:t>
            </a:r>
          </a:p>
          <a:p>
            <a:pPr marL="236624" indent="-236624">
              <a:buFont typeface="Arial"/>
              <a:buAutoNum type="arabicPeriod"/>
            </a:pPr>
            <a:r>
              <a:rPr lang="en-US" sz="1000" dirty="0">
                <a:latin typeface="Times New Roman"/>
                <a:cs typeface="Times New Roman"/>
              </a:rPr>
              <a:t>You have to plan around schedules and since workshops usually only have a handful of upper management participants, this can be a difficult task in itself </a:t>
            </a:r>
          </a:p>
          <a:p>
            <a:pPr marL="946495" lvl="1" indent="-177468">
              <a:buFont typeface="Arial"/>
              <a:buChar char="•"/>
            </a:pPr>
            <a:r>
              <a:rPr lang="en-US" sz="1000" dirty="0">
                <a:latin typeface="Times New Roman"/>
                <a:cs typeface="Times New Roman"/>
              </a:rPr>
              <a:t>Also, workshops do not allow for agile adaptation to pressing organizational requirements</a:t>
            </a:r>
          </a:p>
          <a:p>
            <a:pPr marL="946495" lvl="1" indent="-177468">
              <a:buFont typeface="Arial"/>
              <a:buChar char="•"/>
            </a:pPr>
            <a:r>
              <a:rPr lang="en-US" sz="1000" dirty="0">
                <a:latin typeface="Times New Roman"/>
                <a:cs typeface="Times New Roman"/>
              </a:rPr>
              <a:t>By the time you start the workshop, conduct preliminary interviews, prepare, conduct the workshop, analyze the results, and deliver feedback several months have passed and now the results are out-of-date and it’s time to repeat the process again.</a:t>
            </a:r>
          </a:p>
          <a:p>
            <a:r>
              <a:rPr lang="en-US" sz="1000" dirty="0">
                <a:latin typeface="Times New Roman"/>
                <a:cs typeface="Times New Roman"/>
              </a:rPr>
              <a:t>3. Workshops are very expensive.</a:t>
            </a:r>
          </a:p>
          <a:p>
            <a:pPr marL="946495" lvl="1" indent="-177468">
              <a:buFont typeface="Arial"/>
              <a:buChar char="•"/>
            </a:pPr>
            <a:r>
              <a:rPr lang="en-US" sz="1000" dirty="0">
                <a:latin typeface="Times New Roman"/>
                <a:cs typeface="Times New Roman"/>
              </a:rPr>
              <a:t> There are costs associated with travel, facilitation, analysis, and reporting. Not to mention that many companies outsource workshops to consulting firms which charge high fees.</a:t>
            </a:r>
          </a:p>
          <a:p>
            <a:r>
              <a:rPr lang="en-US" sz="1000" dirty="0">
                <a:latin typeface="Times New Roman"/>
                <a:cs typeface="Times New Roman"/>
              </a:rPr>
              <a:t>4. Workshops often fail to collect information that is accurate enough to support decision-making or to justify the costs of collecting the data. </a:t>
            </a:r>
          </a:p>
          <a:p>
            <a:pPr marL="946495" lvl="1" indent="-177468">
              <a:buFont typeface="Arial"/>
              <a:buChar char="•"/>
            </a:pPr>
            <a:r>
              <a:rPr lang="en-US" sz="1000" dirty="0">
                <a:latin typeface="Times New Roman"/>
                <a:cs typeface="Times New Roman"/>
              </a:rPr>
              <a:t>The facilitator is simply sitting in a room with the participants trying to pull useful information out of them and then recording all of things said in a non-standardized format which makes it very difficult to relate and compare what people are saying. The facilitator is simply summarizing what this sample has said, rather than having a large population actually agreeing to some predetermined level of consensus on all the list items, or in this case risks.</a:t>
            </a:r>
          </a:p>
          <a:p>
            <a:r>
              <a:rPr lang="en-US" sz="1000" dirty="0">
                <a:latin typeface="Times New Roman"/>
                <a:cs typeface="Times New Roman"/>
              </a:rPr>
              <a:t>5. There is an inherent expiration date of the collected information, requiring repetition in effort and expenditure to assure ongoing accuracy and relevance. That’s a lot of time and money, especially for the mediocre quality and poor reliability of the resulting data. But with </a:t>
            </a:r>
            <a:r>
              <a:rPr lang="en-US" sz="1000" dirty="0" err="1">
                <a:latin typeface="Times New Roman"/>
                <a:cs typeface="Times New Roman"/>
              </a:rPr>
              <a:t>Specializ</a:t>
            </a:r>
            <a:r>
              <a:rPr lang="en-US" sz="1000" dirty="0">
                <a:latin typeface="Times New Roman"/>
                <a:cs typeface="Times New Roman"/>
              </a:rPr>
              <a:t> you get guaranteed consensus so the data is relevant and accurate and once you setup the organizational hierarchy and create the logical groupings of people it is a breeze to push out to participants and can setup to kick off automatically quarterly, semi-annually, or how ever often you would like. 	</a:t>
            </a:r>
            <a:r>
              <a:rPr lang="en-US" baseline="0" dirty="0" smtClean="0"/>
              <a:t>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8</a:t>
            </a:fld>
            <a:endParaRPr lang="en-AU" dirty="0"/>
          </a:p>
        </p:txBody>
      </p:sp>
    </p:spTree>
    <p:extLst>
      <p:ext uri="{BB962C8B-B14F-4D97-AF65-F5344CB8AC3E}">
        <p14:creationId xmlns:p14="http://schemas.microsoft.com/office/powerpoint/2010/main" val="15010855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oleObject" Target="../embeddings/oleObject5.bin"/><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3739"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1" y="2886328"/>
            <a:ext cx="6809231" cy="371042"/>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smtClean="0"/>
              <a:t>Title – Times New Roman 28pt (One line only)</a:t>
            </a:r>
          </a:p>
        </p:txBody>
      </p:sp>
      <p:sp>
        <p:nvSpPr>
          <p:cNvPr id="26" name="Text Placeholder 2"/>
          <p:cNvSpPr>
            <a:spLocks noGrp="1"/>
          </p:cNvSpPr>
          <p:nvPr>
            <p:ph type="subTitle" idx="1" hasCustomPrompt="1"/>
            <p:custDataLst>
              <p:tags r:id="rId4"/>
            </p:custDataLst>
          </p:nvPr>
        </p:nvSpPr>
        <p:spPr>
          <a:xfrm>
            <a:off x="396878" y="6084097"/>
            <a:ext cx="2104643" cy="22621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2" y="3268721"/>
            <a:ext cx="4977575" cy="371042"/>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AU" noProof="0" smtClean="0"/>
              <a:t>Subtitle – Times New Roman 28pt</a:t>
            </a:r>
            <a:endParaRPr lang="en-AU" noProof="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4763" name="think-cell Slide" r:id="rId8" imgW="0" imgH="0" progId="">
                  <p:embed/>
                </p:oleObj>
              </mc:Choice>
              <mc:Fallback>
                <p:oleObj name="think-cell Slide" r:id="rId8"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6"/>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_noNum">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5291"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4267"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8" name="Rectangle 7"/>
          <p:cNvSpPr>
            <a:spLocks noChangeArrowheads="1"/>
          </p:cNvSpPr>
          <p:nvPr userDrawn="1">
            <p:custDataLst>
              <p:tags r:id="rId4"/>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5"/>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5787" name="think-cell Slide" r:id="rId9" imgW="0" imgH="0" progId="">
                  <p:embed/>
                </p:oleObj>
              </mc:Choice>
              <mc:Fallback>
                <p:oleObj name="think-cell Slide" r:id="rId9"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smtClean="0"/>
          </a:p>
        </p:txBody>
      </p:sp>
      <p:sp>
        <p:nvSpPr>
          <p:cNvPr id="10" name="Text Placeholder 9"/>
          <p:cNvSpPr>
            <a:spLocks noGrp="1"/>
          </p:cNvSpPr>
          <p:nvPr>
            <p:ph type="body" sz="quarter" idx="12"/>
            <p:custDataLst>
              <p:tags r:id="rId4"/>
            </p:custDataLst>
          </p:nvPr>
        </p:nvSpPr>
        <p:spPr>
          <a:xfrm>
            <a:off x="384177" y="1374779"/>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2"/>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9" name="Rectangle 8"/>
          <p:cNvSpPr>
            <a:spLocks noChangeArrowheads="1"/>
          </p:cNvSpPr>
          <p:nvPr userDrawn="1">
            <p:custDataLst>
              <p:tags r:id="rId6"/>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4" name="TextBox 13"/>
          <p:cNvSpPr txBox="1"/>
          <p:nvPr userDrawn="1">
            <p:custDataLst>
              <p:tags r:id="rId7"/>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7835" name="think-cell Slide" r:id="rId5" imgW="0" imgH="0" progId="">
                  <p:embed/>
                </p:oleObj>
              </mc:Choice>
              <mc:Fallback>
                <p:oleObj name="think-cell Slide" r:id="rId5"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AU" noProof="0"/>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104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0"/>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2715" name="think-cell Slide" r:id="rId14" imgW="0" imgH="0" progId="">
                  <p:embed/>
                </p:oleObj>
              </mc:Choice>
              <mc:Fallback>
                <p:oleObj name="think-cell Slide" r:id="rId14"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custDataLst>
              <p:tags r:id="rId11"/>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1 Deloitte Touche Tohmatsu</a:t>
            </a:r>
            <a:endParaRPr lang="en-AU" sz="1000" dirty="0">
              <a:solidFill>
                <a:schemeClr val="tx1"/>
              </a:solidFill>
            </a:endParaRPr>
          </a:p>
        </p:txBody>
      </p:sp>
      <p:sp>
        <p:nvSpPr>
          <p:cNvPr id="185350" name="Title Placeholder 1"/>
          <p:cNvSpPr>
            <a:spLocks noGrp="1"/>
          </p:cNvSpPr>
          <p:nvPr>
            <p:ph type="title"/>
            <p:custDataLst>
              <p:tags r:id="rId12"/>
            </p:custDataLst>
          </p:nvPr>
        </p:nvSpPr>
        <p:spPr bwMode="auto">
          <a:xfrm>
            <a:off x="384177"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AU" dirty="0" smtClean="0"/>
          </a:p>
        </p:txBody>
      </p:sp>
      <p:sp>
        <p:nvSpPr>
          <p:cNvPr id="10" name="TextBox 9"/>
          <p:cNvSpPr txBox="1"/>
          <p:nvPr>
            <p:custDataLst>
              <p:tags r:id="rId13"/>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 bg1="lt1" tx1="dk1" bg2="lt2" tx2="dk2" accent1="accent1" accent2="accent2" accent3="accent3" accent4="accent4" accent5="accent5" accent6="accent6" hlink="hlink" folHlink="folHlink"/>
  <p:sldLayoutIdLst>
    <p:sldLayoutId id="2147483908" r:id="rId1"/>
    <p:sldLayoutId id="2147483909" r:id="rId2"/>
    <p:sldLayoutId id="2147483914" r:id="rId3"/>
    <p:sldLayoutId id="2147483913" r:id="rId4"/>
    <p:sldLayoutId id="2147483910" r:id="rId5"/>
    <p:sldLayoutId id="2147483912" r:id="rId6"/>
    <p:sldLayoutId id="2147483915" r:id="rId7"/>
  </p:sldLayoutIdLst>
  <p:hf hdr="0" dt="0"/>
  <p:txStyles>
    <p:titleStyle>
      <a:lvl1pPr algn="l" defTabSz="957263" rtl="0" eaLnBrk="1" fontAlgn="base" hangingPunct="1">
        <a:lnSpc>
          <a:spcPct val="106000"/>
        </a:lnSpc>
        <a:spcBef>
          <a:spcPct val="0"/>
        </a:spcBef>
        <a:spcAft>
          <a:spcPct val="0"/>
        </a:spcAft>
        <a:defRPr b="1" kern="1200">
          <a:solidFill>
            <a:schemeClr val="tx1"/>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352" name="Group 16"/>
          <p:cNvGraphicFramePr>
            <a:graphicFrameLocks noGrp="1"/>
          </p:cNvGraphicFramePr>
          <p:nvPr>
            <p:extLst>
              <p:ext uri="{D42A27DB-BD31-4B8C-83A1-F6EECF244321}">
                <p14:modId xmlns:p14="http://schemas.microsoft.com/office/powerpoint/2010/main" val="3056762421"/>
              </p:ext>
            </p:extLst>
          </p:nvPr>
        </p:nvGraphicFramePr>
        <p:xfrm>
          <a:off x="3581400" y="3197225"/>
          <a:ext cx="5105401" cy="889000"/>
        </p:xfrm>
        <a:graphic>
          <a:graphicData uri="http://schemas.openxmlformats.org/drawingml/2006/table">
            <a:tbl>
              <a:tblPr>
                <a:effectLst>
                  <a:reflection stA="50000" endPos="75000" dist="12700" dir="5400000" sy="-100000" algn="bl" rotWithShape="0"/>
                </a:effectLst>
              </a:tblPr>
              <a:tblGrid>
                <a:gridCol w="814157"/>
                <a:gridCol w="4291244"/>
              </a:tblGrid>
              <a:tr h="889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2400" b="1" i="0" u="none" strike="noStrike" cap="none" normalizeH="0" baseline="0" dirty="0" smtClean="0">
                          <a:ln>
                            <a:noFill/>
                          </a:ln>
                          <a:solidFill>
                            <a:schemeClr val="tx1"/>
                          </a:solidFill>
                          <a:effectLst/>
                          <a:latin typeface="Arial" pitchFamily="-65" charset="0"/>
                          <a:ea typeface="ＭＳ Ｐゴシック" pitchFamily="-65" charset="-128"/>
                          <a:cs typeface="ＭＳ Ｐゴシック" pitchFamily="-65" charset="-128"/>
                        </a:rPr>
                        <a:t>Specializ™ for project management</a:t>
                      </a:r>
                      <a:endParaRPr kumimoji="0" lang="en-US" sz="2400" b="1"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bl>
          </a:graphicData>
        </a:graphic>
      </p:graphicFrame>
      <p:pic>
        <p:nvPicPr>
          <p:cNvPr id="14341"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6438586" y="387225"/>
            <a:ext cx="2261228" cy="901950"/>
          </a:xfrm>
          <a:prstGeom prst="rect">
            <a:avLst/>
          </a:prstGeom>
        </p:spPr>
      </p:pic>
    </p:spTree>
    <p:extLst>
      <p:ext uri="{BB962C8B-B14F-4D97-AF65-F5344CB8AC3E}">
        <p14:creationId xmlns:p14="http://schemas.microsoft.com/office/powerpoint/2010/main" val="299543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ounded Rectangle 98"/>
          <p:cNvSpPr/>
          <p:nvPr/>
        </p:nvSpPr>
        <p:spPr>
          <a:xfrm>
            <a:off x="7264400" y="2235200"/>
            <a:ext cx="1689100" cy="2527300"/>
          </a:xfrm>
          <a:prstGeom prst="roundRect">
            <a:avLst>
              <a:gd name="adj" fmla="val 3885"/>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Project Information gathering from the perspective of the Project Manager</a:t>
            </a:r>
            <a:endParaRPr lang="en-AU" dirty="0"/>
          </a:p>
        </p:txBody>
      </p:sp>
      <p:sp>
        <p:nvSpPr>
          <p:cNvPr id="28" name="Rectangle 27"/>
          <p:cNvSpPr/>
          <p:nvPr/>
        </p:nvSpPr>
        <p:spPr>
          <a:xfrm>
            <a:off x="368485" y="1229575"/>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Client Interviews</a:t>
            </a:r>
            <a:endParaRPr lang="en-AU" sz="1400" b="1" dirty="0">
              <a:solidFill>
                <a:schemeClr val="tx1"/>
              </a:solidFill>
            </a:endParaRPr>
          </a:p>
        </p:txBody>
      </p:sp>
      <p:grpSp>
        <p:nvGrpSpPr>
          <p:cNvPr id="26" name="Group 28"/>
          <p:cNvGrpSpPr/>
          <p:nvPr/>
        </p:nvGrpSpPr>
        <p:grpSpPr>
          <a:xfrm>
            <a:off x="429901" y="1769159"/>
            <a:ext cx="1282893" cy="491323"/>
            <a:chOff x="627797" y="2163164"/>
            <a:chExt cx="1282893" cy="491323"/>
          </a:xfrm>
        </p:grpSpPr>
        <p:sp>
          <p:nvSpPr>
            <p:cNvPr id="30" name="Left Brace 29"/>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1" name="TextBox 30"/>
            <p:cNvSpPr txBox="1"/>
            <p:nvPr/>
          </p:nvSpPr>
          <p:spPr>
            <a:xfrm>
              <a:off x="931528" y="2163164"/>
              <a:ext cx="675432" cy="257369"/>
            </a:xfrm>
            <a:prstGeom prst="rect">
              <a:avLst/>
            </a:prstGeom>
            <a:noFill/>
          </p:spPr>
          <p:txBody>
            <a:bodyPr wrap="none" lIns="36000" tIns="36000" rIns="36000" bIns="36000" rtlCol="0">
              <a:spAutoFit/>
            </a:bodyPr>
            <a:lstStyle/>
            <a:p>
              <a:pPr algn="ctr"/>
              <a:r>
                <a:rPr lang="en-AU" sz="1200" dirty="0" smtClean="0"/>
                <a:t>10</a:t>
              </a:r>
              <a:r>
                <a:rPr lang="en-AU" sz="1200" dirty="0" smtClean="0">
                  <a:solidFill>
                    <a:schemeClr val="tx1"/>
                  </a:solidFill>
                </a:rPr>
                <a:t> hours</a:t>
              </a:r>
            </a:p>
          </p:txBody>
        </p:sp>
      </p:grpSp>
      <p:sp>
        <p:nvSpPr>
          <p:cNvPr id="34" name="Rectangle 33"/>
          <p:cNvSpPr/>
          <p:nvPr/>
        </p:nvSpPr>
        <p:spPr>
          <a:xfrm>
            <a:off x="2115406"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 Setup</a:t>
            </a:r>
            <a:endParaRPr lang="en-AU" sz="1400" b="1" dirty="0">
              <a:solidFill>
                <a:schemeClr val="tx1"/>
              </a:solidFill>
            </a:endParaRPr>
          </a:p>
        </p:txBody>
      </p:sp>
      <p:grpSp>
        <p:nvGrpSpPr>
          <p:cNvPr id="29" name="Group 34"/>
          <p:cNvGrpSpPr/>
          <p:nvPr/>
        </p:nvGrpSpPr>
        <p:grpSpPr>
          <a:xfrm>
            <a:off x="2176821" y="1782801"/>
            <a:ext cx="1282893" cy="491323"/>
            <a:chOff x="627797" y="2163164"/>
            <a:chExt cx="1282893" cy="491323"/>
          </a:xfrm>
        </p:grpSpPr>
        <p:sp>
          <p:nvSpPr>
            <p:cNvPr id="36" name="Left Brace 3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7" name="TextBox 3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a:t>5</a:t>
              </a:r>
              <a:r>
                <a:rPr lang="en-AU" sz="1200" dirty="0" smtClean="0">
                  <a:solidFill>
                    <a:schemeClr val="tx1"/>
                  </a:solidFill>
                </a:rPr>
                <a:t> hours</a:t>
              </a:r>
            </a:p>
          </p:txBody>
        </p:sp>
      </p:grpSp>
      <p:sp>
        <p:nvSpPr>
          <p:cNvPr id="39" name="Rectangle 38"/>
          <p:cNvSpPr/>
          <p:nvPr/>
        </p:nvSpPr>
        <p:spPr>
          <a:xfrm>
            <a:off x="3923739"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a:t>
            </a:r>
            <a:endParaRPr lang="en-AU" sz="1400" b="1" dirty="0">
              <a:solidFill>
                <a:schemeClr val="tx1"/>
              </a:solidFill>
            </a:endParaRPr>
          </a:p>
        </p:txBody>
      </p:sp>
      <p:grpSp>
        <p:nvGrpSpPr>
          <p:cNvPr id="33" name="Group 39"/>
          <p:cNvGrpSpPr/>
          <p:nvPr/>
        </p:nvGrpSpPr>
        <p:grpSpPr>
          <a:xfrm>
            <a:off x="3985155" y="1782801"/>
            <a:ext cx="1282893" cy="491323"/>
            <a:chOff x="627797" y="2163164"/>
            <a:chExt cx="1282893" cy="491323"/>
          </a:xfrm>
        </p:grpSpPr>
        <p:sp>
          <p:nvSpPr>
            <p:cNvPr id="41" name="Left Brace 40"/>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2" name="TextBox 41"/>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3 hours</a:t>
              </a:r>
            </a:p>
          </p:txBody>
        </p:sp>
      </p:grpSp>
      <p:sp>
        <p:nvSpPr>
          <p:cNvPr id="44" name="Rectangle 43"/>
          <p:cNvSpPr/>
          <p:nvPr/>
        </p:nvSpPr>
        <p:spPr>
          <a:xfrm>
            <a:off x="5730675"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Analysis of Findings</a:t>
            </a:r>
            <a:endParaRPr lang="en-AU" sz="1400" b="1" dirty="0">
              <a:solidFill>
                <a:schemeClr val="tx1"/>
              </a:solidFill>
            </a:endParaRPr>
          </a:p>
        </p:txBody>
      </p:sp>
      <p:grpSp>
        <p:nvGrpSpPr>
          <p:cNvPr id="38" name="Group 44"/>
          <p:cNvGrpSpPr/>
          <p:nvPr/>
        </p:nvGrpSpPr>
        <p:grpSpPr>
          <a:xfrm>
            <a:off x="5792091" y="1782801"/>
            <a:ext cx="1282893" cy="491323"/>
            <a:chOff x="627797" y="2163164"/>
            <a:chExt cx="1282893" cy="491323"/>
          </a:xfrm>
        </p:grpSpPr>
        <p:sp>
          <p:nvSpPr>
            <p:cNvPr id="46" name="Left Brace 4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7" name="TextBox 4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4 hours</a:t>
              </a:r>
            </a:p>
          </p:txBody>
        </p:sp>
      </p:grpSp>
      <p:sp>
        <p:nvSpPr>
          <p:cNvPr id="54" name="TextBox 53"/>
          <p:cNvSpPr txBox="1"/>
          <p:nvPr/>
        </p:nvSpPr>
        <p:spPr>
          <a:xfrm>
            <a:off x="429898" y="2274128"/>
            <a:ext cx="1282894" cy="955343"/>
          </a:xfrm>
          <a:prstGeom prst="rect">
            <a:avLst/>
          </a:prstGeom>
          <a:noFill/>
        </p:spPr>
        <p:txBody>
          <a:bodyPr wrap="square" lIns="36000" tIns="36000" rIns="36000" bIns="36000" rtlCol="0" anchor="t" anchorCtr="0">
            <a:noAutofit/>
          </a:bodyPr>
          <a:lstStyle/>
          <a:p>
            <a:pPr algn="ctr"/>
            <a:r>
              <a:rPr lang="en-AU" sz="1200" dirty="0" smtClean="0"/>
              <a:t>Meet with up to 10 individuals to understand their input</a:t>
            </a:r>
            <a:endParaRPr lang="en-AU" sz="1200" dirty="0" smtClean="0">
              <a:solidFill>
                <a:schemeClr val="tx1"/>
              </a:solidFill>
            </a:endParaRPr>
          </a:p>
        </p:txBody>
      </p:sp>
      <p:sp>
        <p:nvSpPr>
          <p:cNvPr id="57" name="TextBox 56"/>
          <p:cNvSpPr txBox="1"/>
          <p:nvPr/>
        </p:nvSpPr>
        <p:spPr>
          <a:xfrm>
            <a:off x="2176819" y="2274128"/>
            <a:ext cx="1282894" cy="955343"/>
          </a:xfrm>
          <a:prstGeom prst="rect">
            <a:avLst/>
          </a:prstGeom>
          <a:noFill/>
        </p:spPr>
        <p:txBody>
          <a:bodyPr wrap="square" lIns="36000" tIns="36000" rIns="36000" bIns="36000" rtlCol="0" anchor="t" anchorCtr="0">
            <a:noAutofit/>
          </a:bodyPr>
          <a:lstStyle/>
          <a:p>
            <a:pPr algn="ctr"/>
            <a:r>
              <a:rPr lang="en-AU" sz="1200" dirty="0" smtClean="0"/>
              <a:t>Preparatory and setup work to conduct a workshop</a:t>
            </a:r>
            <a:endParaRPr lang="en-AU" sz="1200" dirty="0" smtClean="0">
              <a:solidFill>
                <a:schemeClr val="tx1"/>
              </a:solidFill>
            </a:endParaRPr>
          </a:p>
        </p:txBody>
      </p:sp>
      <p:sp>
        <p:nvSpPr>
          <p:cNvPr id="58" name="TextBox 57"/>
          <p:cNvSpPr txBox="1"/>
          <p:nvPr/>
        </p:nvSpPr>
        <p:spPr>
          <a:xfrm>
            <a:off x="3979417" y="2274128"/>
            <a:ext cx="1282894" cy="955343"/>
          </a:xfrm>
          <a:prstGeom prst="rect">
            <a:avLst/>
          </a:prstGeom>
          <a:noFill/>
        </p:spPr>
        <p:txBody>
          <a:bodyPr wrap="square" lIns="36000" tIns="36000" rIns="36000" bIns="36000" rtlCol="0" anchor="t" anchorCtr="0">
            <a:noAutofit/>
          </a:bodyPr>
          <a:lstStyle/>
          <a:p>
            <a:pPr algn="ctr"/>
            <a:r>
              <a:rPr lang="en-AU" sz="1200" dirty="0" smtClean="0"/>
              <a:t>Conduct the workshop  with up to 10 individuals</a:t>
            </a:r>
            <a:endParaRPr lang="en-AU" sz="1200" dirty="0" smtClean="0">
              <a:solidFill>
                <a:schemeClr val="tx1"/>
              </a:solidFill>
            </a:endParaRPr>
          </a:p>
        </p:txBody>
      </p:sp>
      <p:sp>
        <p:nvSpPr>
          <p:cNvPr id="59" name="TextBox 58"/>
          <p:cNvSpPr txBox="1"/>
          <p:nvPr/>
        </p:nvSpPr>
        <p:spPr>
          <a:xfrm>
            <a:off x="5792089" y="2274136"/>
            <a:ext cx="1282894" cy="955343"/>
          </a:xfrm>
          <a:prstGeom prst="rect">
            <a:avLst/>
          </a:prstGeom>
          <a:noFill/>
        </p:spPr>
        <p:txBody>
          <a:bodyPr wrap="square" lIns="36000" tIns="36000" rIns="36000" bIns="36000" rtlCol="0" anchor="t" anchorCtr="0">
            <a:noAutofit/>
          </a:bodyPr>
          <a:lstStyle/>
          <a:p>
            <a:pPr algn="ctr"/>
            <a:r>
              <a:rPr lang="en-AU" sz="1200" dirty="0" smtClean="0"/>
              <a:t>Analyse the findings from the workshop and gain consensus</a:t>
            </a:r>
            <a:endParaRPr lang="en-AU" sz="1200" dirty="0" smtClean="0">
              <a:solidFill>
                <a:schemeClr val="tx1"/>
              </a:solidFill>
            </a:endParaRPr>
          </a:p>
        </p:txBody>
      </p:sp>
      <p:sp>
        <p:nvSpPr>
          <p:cNvPr id="61" name="TextBox 60"/>
          <p:cNvSpPr txBox="1"/>
          <p:nvPr/>
        </p:nvSpPr>
        <p:spPr>
          <a:xfrm>
            <a:off x="7246566" y="1274545"/>
            <a:ext cx="1747842" cy="934478"/>
          </a:xfrm>
          <a:prstGeom prst="rect">
            <a:avLst/>
          </a:prstGeom>
          <a:noFill/>
        </p:spPr>
        <p:txBody>
          <a:bodyPr wrap="square" lIns="36000" tIns="36000" rIns="36000" bIns="36000" rtlCol="0">
            <a:spAutoFit/>
          </a:bodyPr>
          <a:lstStyle/>
          <a:p>
            <a:r>
              <a:rPr lang="en-AU" sz="2800" dirty="0" smtClean="0">
                <a:solidFill>
                  <a:schemeClr val="tx1"/>
                </a:solidFill>
              </a:rPr>
              <a:t>= 22 hrs </a:t>
            </a:r>
          </a:p>
          <a:p>
            <a:r>
              <a:rPr lang="en-AU" sz="2800" dirty="0" smtClean="0">
                <a:solidFill>
                  <a:schemeClr val="tx1"/>
                </a:solidFill>
              </a:rPr>
              <a:t>x 7 LOBs</a:t>
            </a:r>
            <a:endParaRPr lang="en-AU" sz="2800" b="1" dirty="0" smtClean="0"/>
          </a:p>
        </p:txBody>
      </p:sp>
      <p:sp>
        <p:nvSpPr>
          <p:cNvPr id="70" name="TextBox 69"/>
          <p:cNvSpPr txBox="1"/>
          <p:nvPr/>
        </p:nvSpPr>
        <p:spPr>
          <a:xfrm>
            <a:off x="1785222"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1" name="TextBox 70"/>
          <p:cNvSpPr txBox="1"/>
          <p:nvPr/>
        </p:nvSpPr>
        <p:spPr>
          <a:xfrm>
            <a:off x="3566636"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2" name="TextBox 71"/>
          <p:cNvSpPr txBox="1"/>
          <p:nvPr/>
        </p:nvSpPr>
        <p:spPr>
          <a:xfrm>
            <a:off x="5370408"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grpSp>
        <p:nvGrpSpPr>
          <p:cNvPr id="43" name="Group 76"/>
          <p:cNvGrpSpPr/>
          <p:nvPr/>
        </p:nvGrpSpPr>
        <p:grpSpPr>
          <a:xfrm>
            <a:off x="252722" y="786014"/>
            <a:ext cx="8631517" cy="100083"/>
            <a:chOff x="252720" y="1187356"/>
            <a:chExt cx="8631517" cy="100083"/>
          </a:xfrm>
        </p:grpSpPr>
        <p:cxnSp>
          <p:nvCxnSpPr>
            <p:cNvPr id="78" name="Straight Connector 77"/>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5" name="Group 79"/>
          <p:cNvGrpSpPr/>
          <p:nvPr/>
        </p:nvGrpSpPr>
        <p:grpSpPr>
          <a:xfrm>
            <a:off x="252722" y="3283566"/>
            <a:ext cx="8631517" cy="100083"/>
            <a:chOff x="252720" y="1187356"/>
            <a:chExt cx="8631517" cy="100083"/>
          </a:xfrm>
        </p:grpSpPr>
        <p:cxnSp>
          <p:nvCxnSpPr>
            <p:cNvPr id="81" name="Straight Connector 80"/>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5" name="TextBox 84"/>
          <p:cNvSpPr txBox="1"/>
          <p:nvPr/>
        </p:nvSpPr>
        <p:spPr>
          <a:xfrm>
            <a:off x="368487" y="943933"/>
            <a:ext cx="6767910" cy="257369"/>
          </a:xfrm>
          <a:prstGeom prst="rect">
            <a:avLst/>
          </a:prstGeom>
          <a:solidFill>
            <a:schemeClr val="tx1">
              <a:lumMod val="50000"/>
              <a:lumOff val="50000"/>
            </a:schemeClr>
          </a:solidFill>
        </p:spPr>
        <p:txBody>
          <a:bodyPr wrap="square" lIns="36000" tIns="36000" rIns="36000" bIns="36000" rtlCol="0">
            <a:spAutoFit/>
          </a:bodyPr>
          <a:lstStyle/>
          <a:p>
            <a:pPr algn="ctr"/>
            <a:r>
              <a:rPr lang="en-AU" sz="1200" b="1" dirty="0" smtClean="0">
                <a:solidFill>
                  <a:schemeClr val="bg1"/>
                </a:solidFill>
              </a:rPr>
              <a:t>Interview/Workshop Approach</a:t>
            </a:r>
          </a:p>
        </p:txBody>
      </p:sp>
      <p:sp>
        <p:nvSpPr>
          <p:cNvPr id="6" name="Rectangle 5"/>
          <p:cNvSpPr/>
          <p:nvPr/>
        </p:nvSpPr>
        <p:spPr>
          <a:xfrm>
            <a:off x="2202022"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Client Meetings</a:t>
            </a:r>
            <a:endParaRPr lang="en-AU" sz="1400" b="1" dirty="0"/>
          </a:p>
        </p:txBody>
      </p:sp>
      <p:grpSp>
        <p:nvGrpSpPr>
          <p:cNvPr id="12" name="Group 20"/>
          <p:cNvGrpSpPr/>
          <p:nvPr/>
        </p:nvGrpSpPr>
        <p:grpSpPr>
          <a:xfrm>
            <a:off x="2263437" y="4361420"/>
            <a:ext cx="1282893" cy="491323"/>
            <a:chOff x="627797" y="2163164"/>
            <a:chExt cx="1282893" cy="491323"/>
          </a:xfrm>
        </p:grpSpPr>
        <p:sp>
          <p:nvSpPr>
            <p:cNvPr id="13" name="Left Brace 12"/>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6" name="TextBox 15"/>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2 hours</a:t>
              </a:r>
            </a:p>
          </p:txBody>
        </p:sp>
      </p:grpSp>
      <p:sp>
        <p:nvSpPr>
          <p:cNvPr id="7" name="Rectangle 6"/>
          <p:cNvSpPr/>
          <p:nvPr/>
        </p:nvSpPr>
        <p:spPr>
          <a:xfrm>
            <a:off x="3948943"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bg1"/>
                </a:solidFill>
              </a:rPr>
              <a:t>Configuration</a:t>
            </a:r>
            <a:endParaRPr lang="en-AU" sz="1400" b="1" dirty="0">
              <a:solidFill>
                <a:schemeClr val="bg1"/>
              </a:solidFill>
            </a:endParaRPr>
          </a:p>
        </p:txBody>
      </p:sp>
      <p:grpSp>
        <p:nvGrpSpPr>
          <p:cNvPr id="20" name="Group 22"/>
          <p:cNvGrpSpPr/>
          <p:nvPr/>
        </p:nvGrpSpPr>
        <p:grpSpPr>
          <a:xfrm>
            <a:off x="4010357" y="4361420"/>
            <a:ext cx="1282893" cy="491323"/>
            <a:chOff x="2395186" y="2163164"/>
            <a:chExt cx="1282893" cy="491323"/>
          </a:xfrm>
        </p:grpSpPr>
        <p:sp>
          <p:nvSpPr>
            <p:cNvPr id="14" name="Left Brace 13"/>
            <p:cNvSpPr/>
            <p:nvPr/>
          </p:nvSpPr>
          <p:spPr>
            <a:xfrm rot="16200000">
              <a:off x="2866035"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7" name="TextBox 16"/>
            <p:cNvSpPr txBox="1"/>
            <p:nvPr/>
          </p:nvSpPr>
          <p:spPr>
            <a:xfrm>
              <a:off x="2621971" y="2163164"/>
              <a:ext cx="829321" cy="257369"/>
            </a:xfrm>
            <a:prstGeom prst="rect">
              <a:avLst/>
            </a:prstGeom>
            <a:noFill/>
          </p:spPr>
          <p:txBody>
            <a:bodyPr wrap="none" lIns="36000" tIns="36000" rIns="36000" bIns="36000" rtlCol="0">
              <a:spAutoFit/>
            </a:bodyPr>
            <a:lstStyle/>
            <a:p>
              <a:pPr algn="ctr"/>
              <a:r>
                <a:rPr lang="en-AU" sz="1200" dirty="0" smtClean="0"/>
                <a:t>30 minutes</a:t>
              </a:r>
              <a:endParaRPr lang="en-AU" sz="1200" dirty="0" smtClean="0">
                <a:solidFill>
                  <a:schemeClr val="tx1"/>
                </a:solidFill>
              </a:endParaRPr>
            </a:p>
          </p:txBody>
        </p:sp>
      </p:grpSp>
      <p:sp>
        <p:nvSpPr>
          <p:cNvPr id="8" name="Rectangle 7"/>
          <p:cNvSpPr/>
          <p:nvPr/>
        </p:nvSpPr>
        <p:spPr>
          <a:xfrm>
            <a:off x="5695861"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SME Input</a:t>
            </a:r>
            <a:endParaRPr lang="en-AU" sz="1400" b="1" dirty="0"/>
          </a:p>
        </p:txBody>
      </p:sp>
      <p:grpSp>
        <p:nvGrpSpPr>
          <p:cNvPr id="22" name="Group 24"/>
          <p:cNvGrpSpPr/>
          <p:nvPr/>
        </p:nvGrpSpPr>
        <p:grpSpPr>
          <a:xfrm>
            <a:off x="5757277" y="4361420"/>
            <a:ext cx="1282893" cy="491323"/>
            <a:chOff x="4155754" y="2163164"/>
            <a:chExt cx="1282893" cy="491323"/>
          </a:xfrm>
        </p:grpSpPr>
        <p:sp>
          <p:nvSpPr>
            <p:cNvPr id="15" name="Left Brace 14"/>
            <p:cNvSpPr/>
            <p:nvPr/>
          </p:nvSpPr>
          <p:spPr>
            <a:xfrm rot="16200000">
              <a:off x="4626603"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8" name="TextBox 17"/>
            <p:cNvSpPr txBox="1"/>
            <p:nvPr/>
          </p:nvSpPr>
          <p:spPr>
            <a:xfrm>
              <a:off x="4542679" y="2163164"/>
              <a:ext cx="509046" cy="257369"/>
            </a:xfrm>
            <a:prstGeom prst="rect">
              <a:avLst/>
            </a:prstGeom>
            <a:noFill/>
          </p:spPr>
          <p:txBody>
            <a:bodyPr wrap="none" lIns="36000" tIns="36000" rIns="36000" bIns="36000" rtlCol="0">
              <a:spAutoFit/>
            </a:bodyPr>
            <a:lstStyle/>
            <a:p>
              <a:pPr algn="ctr"/>
              <a:r>
                <a:rPr lang="en-AU" sz="1200" dirty="0" smtClean="0">
                  <a:solidFill>
                    <a:schemeClr val="tx1"/>
                  </a:solidFill>
                </a:rPr>
                <a:t>1 hour</a:t>
              </a:r>
            </a:p>
          </p:txBody>
        </p:sp>
      </p:grpSp>
      <p:sp>
        <p:nvSpPr>
          <p:cNvPr id="51" name="TextBox 50"/>
          <p:cNvSpPr txBox="1"/>
          <p:nvPr/>
        </p:nvSpPr>
        <p:spPr>
          <a:xfrm>
            <a:off x="2229568" y="4866391"/>
            <a:ext cx="1360300" cy="955343"/>
          </a:xfrm>
          <a:prstGeom prst="rect">
            <a:avLst/>
          </a:prstGeom>
          <a:noFill/>
        </p:spPr>
        <p:txBody>
          <a:bodyPr wrap="square" lIns="36000" tIns="36000" rIns="36000" bIns="36000" rtlCol="0" anchor="t" anchorCtr="0">
            <a:noAutofit/>
          </a:bodyPr>
          <a:lstStyle/>
          <a:p>
            <a:pPr algn="ctr"/>
            <a:r>
              <a:rPr lang="en-AU" sz="1200" dirty="0" smtClean="0"/>
              <a:t>Meet with the client gather data and reporting requirements</a:t>
            </a:r>
            <a:endParaRPr lang="en-AU" sz="1200" dirty="0" smtClean="0">
              <a:solidFill>
                <a:schemeClr val="tx1"/>
              </a:solidFill>
            </a:endParaRPr>
          </a:p>
        </p:txBody>
      </p:sp>
      <p:sp>
        <p:nvSpPr>
          <p:cNvPr id="52" name="TextBox 51"/>
          <p:cNvSpPr txBox="1"/>
          <p:nvPr/>
        </p:nvSpPr>
        <p:spPr>
          <a:xfrm>
            <a:off x="4010354" y="4852739"/>
            <a:ext cx="1282894" cy="955342"/>
          </a:xfrm>
          <a:prstGeom prst="rect">
            <a:avLst/>
          </a:prstGeom>
          <a:noFill/>
        </p:spPr>
        <p:txBody>
          <a:bodyPr wrap="square" lIns="36000" tIns="36000" rIns="36000" bIns="36000" rtlCol="0" anchor="t" anchorCtr="0">
            <a:noAutofit/>
          </a:bodyPr>
          <a:lstStyle/>
          <a:p>
            <a:pPr algn="ctr"/>
            <a:r>
              <a:rPr lang="en-AU" sz="1200" dirty="0" smtClean="0"/>
              <a:t>Configure the client objectives, risk and control requirements</a:t>
            </a:r>
            <a:endParaRPr lang="en-AU" sz="1200" dirty="0" smtClean="0">
              <a:solidFill>
                <a:schemeClr val="tx1"/>
              </a:solidFill>
            </a:endParaRPr>
          </a:p>
        </p:txBody>
      </p:sp>
      <p:sp>
        <p:nvSpPr>
          <p:cNvPr id="53" name="TextBox 52"/>
          <p:cNvSpPr txBox="1"/>
          <p:nvPr/>
        </p:nvSpPr>
        <p:spPr>
          <a:xfrm>
            <a:off x="5757275" y="4866387"/>
            <a:ext cx="1282894" cy="955342"/>
          </a:xfrm>
          <a:prstGeom prst="rect">
            <a:avLst/>
          </a:prstGeom>
          <a:noFill/>
        </p:spPr>
        <p:txBody>
          <a:bodyPr wrap="square" lIns="36000" tIns="36000" rIns="36000" bIns="36000" rtlCol="0" anchor="t" anchorCtr="0">
            <a:noAutofit/>
          </a:bodyPr>
          <a:lstStyle/>
          <a:p>
            <a:pPr algn="ctr"/>
            <a:r>
              <a:rPr lang="en-AU" sz="1200" dirty="0" smtClean="0"/>
              <a:t>Assign SME to manage the quality of the output</a:t>
            </a:r>
            <a:endParaRPr lang="en-AU" sz="1200" dirty="0" smtClean="0">
              <a:solidFill>
                <a:schemeClr val="tx1"/>
              </a:solidFill>
            </a:endParaRPr>
          </a:p>
        </p:txBody>
      </p:sp>
      <p:sp>
        <p:nvSpPr>
          <p:cNvPr id="55" name="TextBox 54"/>
          <p:cNvSpPr txBox="1"/>
          <p:nvPr/>
        </p:nvSpPr>
        <p:spPr>
          <a:xfrm>
            <a:off x="3618758"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56" name="TextBox 55"/>
          <p:cNvSpPr txBox="1"/>
          <p:nvPr/>
        </p:nvSpPr>
        <p:spPr>
          <a:xfrm>
            <a:off x="5385777"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86" name="TextBox 85"/>
          <p:cNvSpPr txBox="1"/>
          <p:nvPr/>
        </p:nvSpPr>
        <p:spPr>
          <a:xfrm>
            <a:off x="2202023" y="3527550"/>
            <a:ext cx="4893826" cy="257369"/>
          </a:xfrm>
          <a:prstGeom prst="rect">
            <a:avLst/>
          </a:prstGeom>
          <a:solidFill>
            <a:schemeClr val="accent2"/>
          </a:solidFill>
        </p:spPr>
        <p:txBody>
          <a:bodyPr wrap="square" lIns="36000" tIns="36000" rIns="36000" bIns="36000" rtlCol="0">
            <a:spAutoFit/>
          </a:bodyPr>
          <a:lstStyle/>
          <a:p>
            <a:pPr algn="ctr"/>
            <a:r>
              <a:rPr lang="en-AU" sz="1200" b="1" dirty="0" smtClean="0"/>
              <a:t>Specializ Approach</a:t>
            </a:r>
          </a:p>
        </p:txBody>
      </p:sp>
      <p:grpSp>
        <p:nvGrpSpPr>
          <p:cNvPr id="48" name="Group 11"/>
          <p:cNvGrpSpPr/>
          <p:nvPr/>
        </p:nvGrpSpPr>
        <p:grpSpPr>
          <a:xfrm>
            <a:off x="478290" y="3510843"/>
            <a:ext cx="961369" cy="819613"/>
            <a:chOff x="7560860" y="1390246"/>
            <a:chExt cx="1320541" cy="1125823"/>
          </a:xfrm>
        </p:grpSpPr>
        <p:sp>
          <p:nvSpPr>
            <p:cNvPr id="3" name="Rectangle 2"/>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 name="TextBox 3"/>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75" name="TextBox 74"/>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8" name="TextBox 87"/>
          <p:cNvSpPr txBox="1"/>
          <p:nvPr/>
        </p:nvSpPr>
        <p:spPr>
          <a:xfrm>
            <a:off x="7349069" y="3841617"/>
            <a:ext cx="153950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3.5 hrs</a:t>
            </a:r>
          </a:p>
          <a:p>
            <a:pPr algn="ctr"/>
            <a:r>
              <a:rPr lang="en-AU" sz="2400" b="1" dirty="0" smtClean="0">
                <a:solidFill>
                  <a:schemeClr val="bg1"/>
                </a:solidFill>
              </a:rPr>
              <a:t> Total</a:t>
            </a:r>
          </a:p>
        </p:txBody>
      </p:sp>
      <p:sp>
        <p:nvSpPr>
          <p:cNvPr id="95" name="TextBox 94"/>
          <p:cNvSpPr txBox="1"/>
          <p:nvPr/>
        </p:nvSpPr>
        <p:spPr>
          <a:xfrm>
            <a:off x="7342011" y="2322123"/>
            <a:ext cx="150691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154 hrs</a:t>
            </a:r>
          </a:p>
          <a:p>
            <a:pPr algn="ctr"/>
            <a:r>
              <a:rPr lang="en-AU" sz="2400" b="1" dirty="0" smtClean="0">
                <a:solidFill>
                  <a:schemeClr val="bg1"/>
                </a:solidFill>
              </a:rPr>
              <a:t> Total</a:t>
            </a:r>
          </a:p>
        </p:txBody>
      </p:sp>
      <p:sp>
        <p:nvSpPr>
          <p:cNvPr id="98" name="Rounded Rectangle 97"/>
          <p:cNvSpPr/>
          <p:nvPr/>
        </p:nvSpPr>
        <p:spPr>
          <a:xfrm>
            <a:off x="215900" y="5791200"/>
            <a:ext cx="8699500" cy="635000"/>
          </a:xfrm>
          <a:prstGeom prst="round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b="1" dirty="0"/>
              <a:t>Using Specializ requires 3.5 hours regardless of quantity of </a:t>
            </a:r>
            <a:r>
              <a:rPr lang="en-AU" sz="1400" b="1" dirty="0" smtClean="0"/>
              <a:t>project stakeholders</a:t>
            </a:r>
            <a:endParaRPr lang="en-AU" sz="1400" b="1" dirty="0"/>
          </a:p>
          <a:p>
            <a:pPr marL="358775" indent="-358775" defTabSz="957263">
              <a:lnSpc>
                <a:spcPct val="106000"/>
              </a:lnSpc>
              <a:buFont typeface="Wingdings" pitchFamily="2" charset="2"/>
              <a:buChar char="ü"/>
            </a:pPr>
            <a:r>
              <a:rPr lang="en-AU" sz="1400" b="1" dirty="0"/>
              <a:t>This enabled information collection 44x times faster at BNH Bank than the workshop approach</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Time-to-Assess decreases with each Assessment</a:t>
            </a:r>
            <a:endParaRPr lang="en-AU" dirty="0"/>
          </a:p>
        </p:txBody>
      </p:sp>
      <p:graphicFrame>
        <p:nvGraphicFramePr>
          <p:cNvPr id="9" name="Chart 8"/>
          <p:cNvGraphicFramePr/>
          <p:nvPr>
            <p:extLst>
              <p:ext uri="{D42A27DB-BD31-4B8C-83A1-F6EECF244321}">
                <p14:modId xmlns:p14="http://schemas.microsoft.com/office/powerpoint/2010/main" val="2106131149"/>
              </p:ext>
            </p:extLst>
          </p:nvPr>
        </p:nvGraphicFramePr>
        <p:xfrm>
          <a:off x="1167514" y="2941791"/>
          <a:ext cx="6686562" cy="3147376"/>
        </p:xfrm>
        <a:graphic>
          <a:graphicData uri="http://schemas.openxmlformats.org/drawingml/2006/chart">
            <c:chart xmlns:c="http://schemas.openxmlformats.org/drawingml/2006/chart" xmlns:r="http://schemas.openxmlformats.org/officeDocument/2006/relationships" r:id="rId3"/>
          </a:graphicData>
        </a:graphic>
      </p:graphicFrame>
      <p:sp>
        <p:nvSpPr>
          <p:cNvPr id="18" name="Freeform 17"/>
          <p:cNvSpPr/>
          <p:nvPr/>
        </p:nvSpPr>
        <p:spPr>
          <a:xfrm>
            <a:off x="5774813" y="1219668"/>
            <a:ext cx="2902138" cy="622443"/>
          </a:xfrm>
          <a:custGeom>
            <a:avLst/>
            <a:gdLst>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805218 w 3152633"/>
              <a:gd name="connsiteY7" fmla="*/ 27295 h 655092"/>
              <a:gd name="connsiteX8" fmla="*/ 928048 w 3152633"/>
              <a:gd name="connsiteY8" fmla="*/ 0 h 655092"/>
              <a:gd name="connsiteX9" fmla="*/ 1201003 w 3152633"/>
              <a:gd name="connsiteY9" fmla="*/ 13648 h 655092"/>
              <a:gd name="connsiteX10" fmla="*/ 1337480 w 3152633"/>
              <a:gd name="connsiteY10" fmla="*/ 54591 h 655092"/>
              <a:gd name="connsiteX11" fmla="*/ 1433015 w 3152633"/>
              <a:gd name="connsiteY11" fmla="*/ 81886 h 655092"/>
              <a:gd name="connsiteX12" fmla="*/ 1487606 w 3152633"/>
              <a:gd name="connsiteY12" fmla="*/ 109182 h 655092"/>
              <a:gd name="connsiteX13" fmla="*/ 1583140 w 3152633"/>
              <a:gd name="connsiteY13" fmla="*/ 136477 h 655092"/>
              <a:gd name="connsiteX14" fmla="*/ 1705970 w 3152633"/>
              <a:gd name="connsiteY14" fmla="*/ 218364 h 655092"/>
              <a:gd name="connsiteX15" fmla="*/ 1746913 w 3152633"/>
              <a:gd name="connsiteY15" fmla="*/ 245660 h 655092"/>
              <a:gd name="connsiteX16" fmla="*/ 1883391 w 3152633"/>
              <a:gd name="connsiteY16" fmla="*/ 341194 h 655092"/>
              <a:gd name="connsiteX17" fmla="*/ 1937982 w 3152633"/>
              <a:gd name="connsiteY17" fmla="*/ 382137 h 655092"/>
              <a:gd name="connsiteX18" fmla="*/ 1978925 w 3152633"/>
              <a:gd name="connsiteY18" fmla="*/ 423080 h 655092"/>
              <a:gd name="connsiteX19" fmla="*/ 2019868 w 3152633"/>
              <a:gd name="connsiteY19" fmla="*/ 436728 h 655092"/>
              <a:gd name="connsiteX20" fmla="*/ 2156346 w 3152633"/>
              <a:gd name="connsiteY20" fmla="*/ 559558 h 655092"/>
              <a:gd name="connsiteX21" fmla="*/ 2197289 w 3152633"/>
              <a:gd name="connsiteY21" fmla="*/ 573206 h 655092"/>
              <a:gd name="connsiteX22" fmla="*/ 2347415 w 3152633"/>
              <a:gd name="connsiteY22" fmla="*/ 655092 h 655092"/>
              <a:gd name="connsiteX23" fmla="*/ 2797791 w 3152633"/>
              <a:gd name="connsiteY23" fmla="*/ 614149 h 655092"/>
              <a:gd name="connsiteX24" fmla="*/ 2893325 w 3152633"/>
              <a:gd name="connsiteY24" fmla="*/ 586854 h 655092"/>
              <a:gd name="connsiteX25" fmla="*/ 2920621 w 3152633"/>
              <a:gd name="connsiteY25" fmla="*/ 545910 h 655092"/>
              <a:gd name="connsiteX26" fmla="*/ 2961564 w 3152633"/>
              <a:gd name="connsiteY26" fmla="*/ 518615 h 655092"/>
              <a:gd name="connsiteX27" fmla="*/ 3002507 w 3152633"/>
              <a:gd name="connsiteY27" fmla="*/ 477671 h 655092"/>
              <a:gd name="connsiteX28" fmla="*/ 3043451 w 3152633"/>
              <a:gd name="connsiteY28" fmla="*/ 450376 h 655092"/>
              <a:gd name="connsiteX29" fmla="*/ 3084394 w 3152633"/>
              <a:gd name="connsiteY29" fmla="*/ 409433 h 655092"/>
              <a:gd name="connsiteX30" fmla="*/ 3152633 w 3152633"/>
              <a:gd name="connsiteY30"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928048 w 3152633"/>
              <a:gd name="connsiteY7" fmla="*/ 0 h 655092"/>
              <a:gd name="connsiteX8" fmla="*/ 1201003 w 3152633"/>
              <a:gd name="connsiteY8" fmla="*/ 13648 h 655092"/>
              <a:gd name="connsiteX9" fmla="*/ 1337480 w 3152633"/>
              <a:gd name="connsiteY9" fmla="*/ 54591 h 655092"/>
              <a:gd name="connsiteX10" fmla="*/ 1433015 w 3152633"/>
              <a:gd name="connsiteY10" fmla="*/ 81886 h 655092"/>
              <a:gd name="connsiteX11" fmla="*/ 1487606 w 3152633"/>
              <a:gd name="connsiteY11" fmla="*/ 109182 h 655092"/>
              <a:gd name="connsiteX12" fmla="*/ 1583140 w 3152633"/>
              <a:gd name="connsiteY12" fmla="*/ 136477 h 655092"/>
              <a:gd name="connsiteX13" fmla="*/ 1705970 w 3152633"/>
              <a:gd name="connsiteY13" fmla="*/ 218364 h 655092"/>
              <a:gd name="connsiteX14" fmla="*/ 1746913 w 3152633"/>
              <a:gd name="connsiteY14" fmla="*/ 245660 h 655092"/>
              <a:gd name="connsiteX15" fmla="*/ 1883391 w 3152633"/>
              <a:gd name="connsiteY15" fmla="*/ 341194 h 655092"/>
              <a:gd name="connsiteX16" fmla="*/ 1937982 w 3152633"/>
              <a:gd name="connsiteY16" fmla="*/ 382137 h 655092"/>
              <a:gd name="connsiteX17" fmla="*/ 1978925 w 3152633"/>
              <a:gd name="connsiteY17" fmla="*/ 423080 h 655092"/>
              <a:gd name="connsiteX18" fmla="*/ 2019868 w 3152633"/>
              <a:gd name="connsiteY18" fmla="*/ 436728 h 655092"/>
              <a:gd name="connsiteX19" fmla="*/ 2156346 w 3152633"/>
              <a:gd name="connsiteY19" fmla="*/ 559558 h 655092"/>
              <a:gd name="connsiteX20" fmla="*/ 2197289 w 3152633"/>
              <a:gd name="connsiteY20" fmla="*/ 573206 h 655092"/>
              <a:gd name="connsiteX21" fmla="*/ 2347415 w 3152633"/>
              <a:gd name="connsiteY21" fmla="*/ 655092 h 655092"/>
              <a:gd name="connsiteX22" fmla="*/ 2797791 w 3152633"/>
              <a:gd name="connsiteY22" fmla="*/ 614149 h 655092"/>
              <a:gd name="connsiteX23" fmla="*/ 2893325 w 3152633"/>
              <a:gd name="connsiteY23" fmla="*/ 586854 h 655092"/>
              <a:gd name="connsiteX24" fmla="*/ 2920621 w 3152633"/>
              <a:gd name="connsiteY24" fmla="*/ 545910 h 655092"/>
              <a:gd name="connsiteX25" fmla="*/ 2961564 w 3152633"/>
              <a:gd name="connsiteY25" fmla="*/ 518615 h 655092"/>
              <a:gd name="connsiteX26" fmla="*/ 3002507 w 3152633"/>
              <a:gd name="connsiteY26" fmla="*/ 477671 h 655092"/>
              <a:gd name="connsiteX27" fmla="*/ 3043451 w 3152633"/>
              <a:gd name="connsiteY27" fmla="*/ 450376 h 655092"/>
              <a:gd name="connsiteX28" fmla="*/ 3084394 w 3152633"/>
              <a:gd name="connsiteY28" fmla="*/ 409433 h 655092"/>
              <a:gd name="connsiteX29" fmla="*/ 3152633 w 3152633"/>
              <a:gd name="connsiteY29"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545910 w 3152633"/>
              <a:gd name="connsiteY5" fmla="*/ 40943 h 655092"/>
              <a:gd name="connsiteX6" fmla="*/ 928048 w 3152633"/>
              <a:gd name="connsiteY6" fmla="*/ 0 h 655092"/>
              <a:gd name="connsiteX7" fmla="*/ 1201003 w 3152633"/>
              <a:gd name="connsiteY7" fmla="*/ 13648 h 655092"/>
              <a:gd name="connsiteX8" fmla="*/ 1337480 w 3152633"/>
              <a:gd name="connsiteY8" fmla="*/ 54591 h 655092"/>
              <a:gd name="connsiteX9" fmla="*/ 1433015 w 3152633"/>
              <a:gd name="connsiteY9" fmla="*/ 81886 h 655092"/>
              <a:gd name="connsiteX10" fmla="*/ 1487606 w 3152633"/>
              <a:gd name="connsiteY10" fmla="*/ 109182 h 655092"/>
              <a:gd name="connsiteX11" fmla="*/ 1583140 w 3152633"/>
              <a:gd name="connsiteY11" fmla="*/ 136477 h 655092"/>
              <a:gd name="connsiteX12" fmla="*/ 1705970 w 3152633"/>
              <a:gd name="connsiteY12" fmla="*/ 218364 h 655092"/>
              <a:gd name="connsiteX13" fmla="*/ 1746913 w 3152633"/>
              <a:gd name="connsiteY13" fmla="*/ 245660 h 655092"/>
              <a:gd name="connsiteX14" fmla="*/ 1883391 w 3152633"/>
              <a:gd name="connsiteY14" fmla="*/ 341194 h 655092"/>
              <a:gd name="connsiteX15" fmla="*/ 1937982 w 3152633"/>
              <a:gd name="connsiteY15" fmla="*/ 382137 h 655092"/>
              <a:gd name="connsiteX16" fmla="*/ 1978925 w 3152633"/>
              <a:gd name="connsiteY16" fmla="*/ 423080 h 655092"/>
              <a:gd name="connsiteX17" fmla="*/ 2019868 w 3152633"/>
              <a:gd name="connsiteY17" fmla="*/ 436728 h 655092"/>
              <a:gd name="connsiteX18" fmla="*/ 2156346 w 3152633"/>
              <a:gd name="connsiteY18" fmla="*/ 559558 h 655092"/>
              <a:gd name="connsiteX19" fmla="*/ 2197289 w 3152633"/>
              <a:gd name="connsiteY19" fmla="*/ 573206 h 655092"/>
              <a:gd name="connsiteX20" fmla="*/ 2347415 w 3152633"/>
              <a:gd name="connsiteY20" fmla="*/ 655092 h 655092"/>
              <a:gd name="connsiteX21" fmla="*/ 2797791 w 3152633"/>
              <a:gd name="connsiteY21" fmla="*/ 614149 h 655092"/>
              <a:gd name="connsiteX22" fmla="*/ 2893325 w 3152633"/>
              <a:gd name="connsiteY22" fmla="*/ 586854 h 655092"/>
              <a:gd name="connsiteX23" fmla="*/ 2920621 w 3152633"/>
              <a:gd name="connsiteY23" fmla="*/ 545910 h 655092"/>
              <a:gd name="connsiteX24" fmla="*/ 2961564 w 3152633"/>
              <a:gd name="connsiteY24" fmla="*/ 518615 h 655092"/>
              <a:gd name="connsiteX25" fmla="*/ 3002507 w 3152633"/>
              <a:gd name="connsiteY25" fmla="*/ 477671 h 655092"/>
              <a:gd name="connsiteX26" fmla="*/ 3043451 w 3152633"/>
              <a:gd name="connsiteY26" fmla="*/ 450376 h 655092"/>
              <a:gd name="connsiteX27" fmla="*/ 3084394 w 3152633"/>
              <a:gd name="connsiteY27" fmla="*/ 409433 h 655092"/>
              <a:gd name="connsiteX28" fmla="*/ 3152633 w 3152633"/>
              <a:gd name="connsiteY28" fmla="*/ 368489 h 655092"/>
              <a:gd name="connsiteX0" fmla="*/ 0 w 3152633"/>
              <a:gd name="connsiteY0" fmla="*/ 204716 h 655092"/>
              <a:gd name="connsiteX1" fmla="*/ 68239 w 3152633"/>
              <a:gd name="connsiteY1" fmla="*/ 191068 h 655092"/>
              <a:gd name="connsiteX2" fmla="*/ 163773 w 3152633"/>
              <a:gd name="connsiteY2" fmla="*/ 163773 h 655092"/>
              <a:gd name="connsiteX3" fmla="*/ 300251 w 3152633"/>
              <a:gd name="connsiteY3" fmla="*/ 122830 h 655092"/>
              <a:gd name="connsiteX4" fmla="*/ 545910 w 3152633"/>
              <a:gd name="connsiteY4" fmla="*/ 40943 h 655092"/>
              <a:gd name="connsiteX5" fmla="*/ 928048 w 3152633"/>
              <a:gd name="connsiteY5" fmla="*/ 0 h 655092"/>
              <a:gd name="connsiteX6" fmla="*/ 1201003 w 3152633"/>
              <a:gd name="connsiteY6" fmla="*/ 13648 h 655092"/>
              <a:gd name="connsiteX7" fmla="*/ 1337480 w 3152633"/>
              <a:gd name="connsiteY7" fmla="*/ 54591 h 655092"/>
              <a:gd name="connsiteX8" fmla="*/ 1433015 w 3152633"/>
              <a:gd name="connsiteY8" fmla="*/ 81886 h 655092"/>
              <a:gd name="connsiteX9" fmla="*/ 1487606 w 3152633"/>
              <a:gd name="connsiteY9" fmla="*/ 109182 h 655092"/>
              <a:gd name="connsiteX10" fmla="*/ 1583140 w 3152633"/>
              <a:gd name="connsiteY10" fmla="*/ 136477 h 655092"/>
              <a:gd name="connsiteX11" fmla="*/ 1705970 w 3152633"/>
              <a:gd name="connsiteY11" fmla="*/ 218364 h 655092"/>
              <a:gd name="connsiteX12" fmla="*/ 1746913 w 3152633"/>
              <a:gd name="connsiteY12" fmla="*/ 245660 h 655092"/>
              <a:gd name="connsiteX13" fmla="*/ 1883391 w 3152633"/>
              <a:gd name="connsiteY13" fmla="*/ 341194 h 655092"/>
              <a:gd name="connsiteX14" fmla="*/ 1937982 w 3152633"/>
              <a:gd name="connsiteY14" fmla="*/ 382137 h 655092"/>
              <a:gd name="connsiteX15" fmla="*/ 1978925 w 3152633"/>
              <a:gd name="connsiteY15" fmla="*/ 423080 h 655092"/>
              <a:gd name="connsiteX16" fmla="*/ 2019868 w 3152633"/>
              <a:gd name="connsiteY16" fmla="*/ 436728 h 655092"/>
              <a:gd name="connsiteX17" fmla="*/ 2156346 w 3152633"/>
              <a:gd name="connsiteY17" fmla="*/ 559558 h 655092"/>
              <a:gd name="connsiteX18" fmla="*/ 2197289 w 3152633"/>
              <a:gd name="connsiteY18" fmla="*/ 573206 h 655092"/>
              <a:gd name="connsiteX19" fmla="*/ 2347415 w 3152633"/>
              <a:gd name="connsiteY19" fmla="*/ 655092 h 655092"/>
              <a:gd name="connsiteX20" fmla="*/ 2797791 w 3152633"/>
              <a:gd name="connsiteY20" fmla="*/ 614149 h 655092"/>
              <a:gd name="connsiteX21" fmla="*/ 2893325 w 3152633"/>
              <a:gd name="connsiteY21" fmla="*/ 586854 h 655092"/>
              <a:gd name="connsiteX22" fmla="*/ 2920621 w 3152633"/>
              <a:gd name="connsiteY22" fmla="*/ 545910 h 655092"/>
              <a:gd name="connsiteX23" fmla="*/ 2961564 w 3152633"/>
              <a:gd name="connsiteY23" fmla="*/ 518615 h 655092"/>
              <a:gd name="connsiteX24" fmla="*/ 3002507 w 3152633"/>
              <a:gd name="connsiteY24" fmla="*/ 477671 h 655092"/>
              <a:gd name="connsiteX25" fmla="*/ 3043451 w 3152633"/>
              <a:gd name="connsiteY25" fmla="*/ 450376 h 655092"/>
              <a:gd name="connsiteX26" fmla="*/ 3084394 w 3152633"/>
              <a:gd name="connsiteY26" fmla="*/ 409433 h 655092"/>
              <a:gd name="connsiteX27" fmla="*/ 3152633 w 3152633"/>
              <a:gd name="connsiteY27" fmla="*/ 368489 h 655092"/>
              <a:gd name="connsiteX0" fmla="*/ 0 w 3152633"/>
              <a:gd name="connsiteY0" fmla="*/ 204716 h 655092"/>
              <a:gd name="connsiteX1" fmla="*/ 68239 w 3152633"/>
              <a:gd name="connsiteY1" fmla="*/ 191068 h 655092"/>
              <a:gd name="connsiteX2" fmla="*/ 300251 w 3152633"/>
              <a:gd name="connsiteY2" fmla="*/ 122830 h 655092"/>
              <a:gd name="connsiteX3" fmla="*/ 545910 w 3152633"/>
              <a:gd name="connsiteY3" fmla="*/ 40943 h 655092"/>
              <a:gd name="connsiteX4" fmla="*/ 928048 w 3152633"/>
              <a:gd name="connsiteY4" fmla="*/ 0 h 655092"/>
              <a:gd name="connsiteX5" fmla="*/ 1201003 w 3152633"/>
              <a:gd name="connsiteY5" fmla="*/ 13648 h 655092"/>
              <a:gd name="connsiteX6" fmla="*/ 1337480 w 3152633"/>
              <a:gd name="connsiteY6" fmla="*/ 54591 h 655092"/>
              <a:gd name="connsiteX7" fmla="*/ 1433015 w 3152633"/>
              <a:gd name="connsiteY7" fmla="*/ 81886 h 655092"/>
              <a:gd name="connsiteX8" fmla="*/ 1487606 w 3152633"/>
              <a:gd name="connsiteY8" fmla="*/ 109182 h 655092"/>
              <a:gd name="connsiteX9" fmla="*/ 1583140 w 3152633"/>
              <a:gd name="connsiteY9" fmla="*/ 136477 h 655092"/>
              <a:gd name="connsiteX10" fmla="*/ 1705970 w 3152633"/>
              <a:gd name="connsiteY10" fmla="*/ 218364 h 655092"/>
              <a:gd name="connsiteX11" fmla="*/ 1746913 w 3152633"/>
              <a:gd name="connsiteY11" fmla="*/ 245660 h 655092"/>
              <a:gd name="connsiteX12" fmla="*/ 1883391 w 3152633"/>
              <a:gd name="connsiteY12" fmla="*/ 341194 h 655092"/>
              <a:gd name="connsiteX13" fmla="*/ 1937982 w 3152633"/>
              <a:gd name="connsiteY13" fmla="*/ 382137 h 655092"/>
              <a:gd name="connsiteX14" fmla="*/ 1978925 w 3152633"/>
              <a:gd name="connsiteY14" fmla="*/ 423080 h 655092"/>
              <a:gd name="connsiteX15" fmla="*/ 2019868 w 3152633"/>
              <a:gd name="connsiteY15" fmla="*/ 436728 h 655092"/>
              <a:gd name="connsiteX16" fmla="*/ 2156346 w 3152633"/>
              <a:gd name="connsiteY16" fmla="*/ 559558 h 655092"/>
              <a:gd name="connsiteX17" fmla="*/ 2197289 w 3152633"/>
              <a:gd name="connsiteY17" fmla="*/ 573206 h 655092"/>
              <a:gd name="connsiteX18" fmla="*/ 2347415 w 3152633"/>
              <a:gd name="connsiteY18" fmla="*/ 655092 h 655092"/>
              <a:gd name="connsiteX19" fmla="*/ 2797791 w 3152633"/>
              <a:gd name="connsiteY19" fmla="*/ 614149 h 655092"/>
              <a:gd name="connsiteX20" fmla="*/ 2893325 w 3152633"/>
              <a:gd name="connsiteY20" fmla="*/ 586854 h 655092"/>
              <a:gd name="connsiteX21" fmla="*/ 2920621 w 3152633"/>
              <a:gd name="connsiteY21" fmla="*/ 545910 h 655092"/>
              <a:gd name="connsiteX22" fmla="*/ 2961564 w 3152633"/>
              <a:gd name="connsiteY22" fmla="*/ 518615 h 655092"/>
              <a:gd name="connsiteX23" fmla="*/ 3002507 w 3152633"/>
              <a:gd name="connsiteY23" fmla="*/ 477671 h 655092"/>
              <a:gd name="connsiteX24" fmla="*/ 3043451 w 3152633"/>
              <a:gd name="connsiteY24" fmla="*/ 450376 h 655092"/>
              <a:gd name="connsiteX25" fmla="*/ 3084394 w 3152633"/>
              <a:gd name="connsiteY25" fmla="*/ 409433 h 655092"/>
              <a:gd name="connsiteX26" fmla="*/ 3152633 w 3152633"/>
              <a:gd name="connsiteY26" fmla="*/ 368489 h 655092"/>
              <a:gd name="connsiteX0" fmla="*/ 0 w 3152633"/>
              <a:gd name="connsiteY0" fmla="*/ 210902 h 661278"/>
              <a:gd name="connsiteX1" fmla="*/ 68239 w 3152633"/>
              <a:gd name="connsiteY1" fmla="*/ 197254 h 661278"/>
              <a:gd name="connsiteX2" fmla="*/ 300251 w 3152633"/>
              <a:gd name="connsiteY2" fmla="*/ 129016 h 661278"/>
              <a:gd name="connsiteX3" fmla="*/ 928048 w 3152633"/>
              <a:gd name="connsiteY3" fmla="*/ 6186 h 661278"/>
              <a:gd name="connsiteX4" fmla="*/ 1201003 w 3152633"/>
              <a:gd name="connsiteY4" fmla="*/ 19834 h 661278"/>
              <a:gd name="connsiteX5" fmla="*/ 1337480 w 3152633"/>
              <a:gd name="connsiteY5" fmla="*/ 60777 h 661278"/>
              <a:gd name="connsiteX6" fmla="*/ 1433015 w 3152633"/>
              <a:gd name="connsiteY6" fmla="*/ 88072 h 661278"/>
              <a:gd name="connsiteX7" fmla="*/ 1487606 w 3152633"/>
              <a:gd name="connsiteY7" fmla="*/ 115368 h 661278"/>
              <a:gd name="connsiteX8" fmla="*/ 1583140 w 3152633"/>
              <a:gd name="connsiteY8" fmla="*/ 142663 h 661278"/>
              <a:gd name="connsiteX9" fmla="*/ 1705970 w 3152633"/>
              <a:gd name="connsiteY9" fmla="*/ 224550 h 661278"/>
              <a:gd name="connsiteX10" fmla="*/ 1746913 w 3152633"/>
              <a:gd name="connsiteY10" fmla="*/ 251846 h 661278"/>
              <a:gd name="connsiteX11" fmla="*/ 1883391 w 3152633"/>
              <a:gd name="connsiteY11" fmla="*/ 347380 h 661278"/>
              <a:gd name="connsiteX12" fmla="*/ 1937982 w 3152633"/>
              <a:gd name="connsiteY12" fmla="*/ 388323 h 661278"/>
              <a:gd name="connsiteX13" fmla="*/ 1978925 w 3152633"/>
              <a:gd name="connsiteY13" fmla="*/ 429266 h 661278"/>
              <a:gd name="connsiteX14" fmla="*/ 2019868 w 3152633"/>
              <a:gd name="connsiteY14" fmla="*/ 442914 h 661278"/>
              <a:gd name="connsiteX15" fmla="*/ 2156346 w 3152633"/>
              <a:gd name="connsiteY15" fmla="*/ 565744 h 661278"/>
              <a:gd name="connsiteX16" fmla="*/ 2197289 w 3152633"/>
              <a:gd name="connsiteY16" fmla="*/ 579392 h 661278"/>
              <a:gd name="connsiteX17" fmla="*/ 2347415 w 3152633"/>
              <a:gd name="connsiteY17" fmla="*/ 661278 h 661278"/>
              <a:gd name="connsiteX18" fmla="*/ 2797791 w 3152633"/>
              <a:gd name="connsiteY18" fmla="*/ 620335 h 661278"/>
              <a:gd name="connsiteX19" fmla="*/ 2893325 w 3152633"/>
              <a:gd name="connsiteY19" fmla="*/ 593040 h 661278"/>
              <a:gd name="connsiteX20" fmla="*/ 2920621 w 3152633"/>
              <a:gd name="connsiteY20" fmla="*/ 552096 h 661278"/>
              <a:gd name="connsiteX21" fmla="*/ 2961564 w 3152633"/>
              <a:gd name="connsiteY21" fmla="*/ 524801 h 661278"/>
              <a:gd name="connsiteX22" fmla="*/ 3002507 w 3152633"/>
              <a:gd name="connsiteY22" fmla="*/ 483857 h 661278"/>
              <a:gd name="connsiteX23" fmla="*/ 3043451 w 3152633"/>
              <a:gd name="connsiteY23" fmla="*/ 456562 h 661278"/>
              <a:gd name="connsiteX24" fmla="*/ 3084394 w 3152633"/>
              <a:gd name="connsiteY24" fmla="*/ 415619 h 661278"/>
              <a:gd name="connsiteX25" fmla="*/ 3152633 w 3152633"/>
              <a:gd name="connsiteY25" fmla="*/ 374675 h 661278"/>
              <a:gd name="connsiteX0" fmla="*/ 16404 w 3169037"/>
              <a:gd name="connsiteY0" fmla="*/ 215759 h 666135"/>
              <a:gd name="connsiteX1" fmla="*/ 84643 w 3169037"/>
              <a:gd name="connsiteY1" fmla="*/ 202111 h 666135"/>
              <a:gd name="connsiteX2" fmla="*/ 944452 w 3169037"/>
              <a:gd name="connsiteY2" fmla="*/ 11043 h 666135"/>
              <a:gd name="connsiteX3" fmla="*/ 1217407 w 3169037"/>
              <a:gd name="connsiteY3" fmla="*/ 24691 h 666135"/>
              <a:gd name="connsiteX4" fmla="*/ 1353884 w 3169037"/>
              <a:gd name="connsiteY4" fmla="*/ 65634 h 666135"/>
              <a:gd name="connsiteX5" fmla="*/ 1449419 w 3169037"/>
              <a:gd name="connsiteY5" fmla="*/ 92929 h 666135"/>
              <a:gd name="connsiteX6" fmla="*/ 1504010 w 3169037"/>
              <a:gd name="connsiteY6" fmla="*/ 120225 h 666135"/>
              <a:gd name="connsiteX7" fmla="*/ 1599544 w 3169037"/>
              <a:gd name="connsiteY7" fmla="*/ 147520 h 666135"/>
              <a:gd name="connsiteX8" fmla="*/ 1722374 w 3169037"/>
              <a:gd name="connsiteY8" fmla="*/ 229407 h 666135"/>
              <a:gd name="connsiteX9" fmla="*/ 1763317 w 3169037"/>
              <a:gd name="connsiteY9" fmla="*/ 256703 h 666135"/>
              <a:gd name="connsiteX10" fmla="*/ 1899795 w 3169037"/>
              <a:gd name="connsiteY10" fmla="*/ 352237 h 666135"/>
              <a:gd name="connsiteX11" fmla="*/ 1954386 w 3169037"/>
              <a:gd name="connsiteY11" fmla="*/ 393180 h 666135"/>
              <a:gd name="connsiteX12" fmla="*/ 1995329 w 3169037"/>
              <a:gd name="connsiteY12" fmla="*/ 434123 h 666135"/>
              <a:gd name="connsiteX13" fmla="*/ 2036272 w 3169037"/>
              <a:gd name="connsiteY13" fmla="*/ 447771 h 666135"/>
              <a:gd name="connsiteX14" fmla="*/ 2172750 w 3169037"/>
              <a:gd name="connsiteY14" fmla="*/ 570601 h 666135"/>
              <a:gd name="connsiteX15" fmla="*/ 2213693 w 3169037"/>
              <a:gd name="connsiteY15" fmla="*/ 584249 h 666135"/>
              <a:gd name="connsiteX16" fmla="*/ 2363819 w 3169037"/>
              <a:gd name="connsiteY16" fmla="*/ 666135 h 666135"/>
              <a:gd name="connsiteX17" fmla="*/ 2814195 w 3169037"/>
              <a:gd name="connsiteY17" fmla="*/ 625192 h 666135"/>
              <a:gd name="connsiteX18" fmla="*/ 2909729 w 3169037"/>
              <a:gd name="connsiteY18" fmla="*/ 597897 h 666135"/>
              <a:gd name="connsiteX19" fmla="*/ 2937025 w 3169037"/>
              <a:gd name="connsiteY19" fmla="*/ 556953 h 666135"/>
              <a:gd name="connsiteX20" fmla="*/ 2977968 w 3169037"/>
              <a:gd name="connsiteY20" fmla="*/ 529658 h 666135"/>
              <a:gd name="connsiteX21" fmla="*/ 3018911 w 3169037"/>
              <a:gd name="connsiteY21" fmla="*/ 488714 h 666135"/>
              <a:gd name="connsiteX22" fmla="*/ 3059855 w 3169037"/>
              <a:gd name="connsiteY22" fmla="*/ 461419 h 666135"/>
              <a:gd name="connsiteX23" fmla="*/ 3100798 w 3169037"/>
              <a:gd name="connsiteY23" fmla="*/ 420476 h 666135"/>
              <a:gd name="connsiteX24" fmla="*/ 3169037 w 3169037"/>
              <a:gd name="connsiteY24" fmla="*/ 379532 h 66613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04010 w 3169037"/>
              <a:gd name="connsiteY5" fmla="*/ 114045 h 659955"/>
              <a:gd name="connsiteX6" fmla="*/ 1599544 w 3169037"/>
              <a:gd name="connsiteY6" fmla="*/ 141340 h 659955"/>
              <a:gd name="connsiteX7" fmla="*/ 1722374 w 3169037"/>
              <a:gd name="connsiteY7" fmla="*/ 223227 h 659955"/>
              <a:gd name="connsiteX8" fmla="*/ 1763317 w 3169037"/>
              <a:gd name="connsiteY8" fmla="*/ 250523 h 659955"/>
              <a:gd name="connsiteX9" fmla="*/ 1899795 w 3169037"/>
              <a:gd name="connsiteY9" fmla="*/ 346057 h 659955"/>
              <a:gd name="connsiteX10" fmla="*/ 1954386 w 3169037"/>
              <a:gd name="connsiteY10" fmla="*/ 387000 h 659955"/>
              <a:gd name="connsiteX11" fmla="*/ 1995329 w 3169037"/>
              <a:gd name="connsiteY11" fmla="*/ 427943 h 659955"/>
              <a:gd name="connsiteX12" fmla="*/ 2036272 w 3169037"/>
              <a:gd name="connsiteY12" fmla="*/ 441591 h 659955"/>
              <a:gd name="connsiteX13" fmla="*/ 2172750 w 3169037"/>
              <a:gd name="connsiteY13" fmla="*/ 564421 h 659955"/>
              <a:gd name="connsiteX14" fmla="*/ 2213693 w 3169037"/>
              <a:gd name="connsiteY14" fmla="*/ 578069 h 659955"/>
              <a:gd name="connsiteX15" fmla="*/ 2363819 w 3169037"/>
              <a:gd name="connsiteY15" fmla="*/ 659955 h 659955"/>
              <a:gd name="connsiteX16" fmla="*/ 2814195 w 3169037"/>
              <a:gd name="connsiteY16" fmla="*/ 619012 h 659955"/>
              <a:gd name="connsiteX17" fmla="*/ 2909729 w 3169037"/>
              <a:gd name="connsiteY17" fmla="*/ 591717 h 659955"/>
              <a:gd name="connsiteX18" fmla="*/ 2937025 w 3169037"/>
              <a:gd name="connsiteY18" fmla="*/ 550773 h 659955"/>
              <a:gd name="connsiteX19" fmla="*/ 2977968 w 3169037"/>
              <a:gd name="connsiteY19" fmla="*/ 523478 h 659955"/>
              <a:gd name="connsiteX20" fmla="*/ 3018911 w 3169037"/>
              <a:gd name="connsiteY20" fmla="*/ 482534 h 659955"/>
              <a:gd name="connsiteX21" fmla="*/ 3059855 w 3169037"/>
              <a:gd name="connsiteY21" fmla="*/ 455239 h 659955"/>
              <a:gd name="connsiteX22" fmla="*/ 3100798 w 3169037"/>
              <a:gd name="connsiteY22" fmla="*/ 414296 h 659955"/>
              <a:gd name="connsiteX23" fmla="*/ 3169037 w 3169037"/>
              <a:gd name="connsiteY2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99544 w 3169037"/>
              <a:gd name="connsiteY5" fmla="*/ 141340 h 659955"/>
              <a:gd name="connsiteX6" fmla="*/ 1722374 w 3169037"/>
              <a:gd name="connsiteY6" fmla="*/ 223227 h 659955"/>
              <a:gd name="connsiteX7" fmla="*/ 1763317 w 3169037"/>
              <a:gd name="connsiteY7" fmla="*/ 250523 h 659955"/>
              <a:gd name="connsiteX8" fmla="*/ 1899795 w 3169037"/>
              <a:gd name="connsiteY8" fmla="*/ 346057 h 659955"/>
              <a:gd name="connsiteX9" fmla="*/ 1954386 w 3169037"/>
              <a:gd name="connsiteY9" fmla="*/ 387000 h 659955"/>
              <a:gd name="connsiteX10" fmla="*/ 1995329 w 3169037"/>
              <a:gd name="connsiteY10" fmla="*/ 427943 h 659955"/>
              <a:gd name="connsiteX11" fmla="*/ 2036272 w 3169037"/>
              <a:gd name="connsiteY11" fmla="*/ 441591 h 659955"/>
              <a:gd name="connsiteX12" fmla="*/ 2172750 w 3169037"/>
              <a:gd name="connsiteY12" fmla="*/ 564421 h 659955"/>
              <a:gd name="connsiteX13" fmla="*/ 2213693 w 3169037"/>
              <a:gd name="connsiteY13" fmla="*/ 578069 h 659955"/>
              <a:gd name="connsiteX14" fmla="*/ 2363819 w 3169037"/>
              <a:gd name="connsiteY14" fmla="*/ 659955 h 659955"/>
              <a:gd name="connsiteX15" fmla="*/ 2814195 w 3169037"/>
              <a:gd name="connsiteY15" fmla="*/ 619012 h 659955"/>
              <a:gd name="connsiteX16" fmla="*/ 2909729 w 3169037"/>
              <a:gd name="connsiteY16" fmla="*/ 591717 h 659955"/>
              <a:gd name="connsiteX17" fmla="*/ 2937025 w 3169037"/>
              <a:gd name="connsiteY17" fmla="*/ 550773 h 659955"/>
              <a:gd name="connsiteX18" fmla="*/ 2977968 w 3169037"/>
              <a:gd name="connsiteY18" fmla="*/ 523478 h 659955"/>
              <a:gd name="connsiteX19" fmla="*/ 3018911 w 3169037"/>
              <a:gd name="connsiteY19" fmla="*/ 482534 h 659955"/>
              <a:gd name="connsiteX20" fmla="*/ 3059855 w 3169037"/>
              <a:gd name="connsiteY20" fmla="*/ 455239 h 659955"/>
              <a:gd name="connsiteX21" fmla="*/ 3100798 w 3169037"/>
              <a:gd name="connsiteY21" fmla="*/ 414296 h 659955"/>
              <a:gd name="connsiteX22" fmla="*/ 3169037 w 3169037"/>
              <a:gd name="connsiteY2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763317 w 3169037"/>
              <a:gd name="connsiteY6" fmla="*/ 250523 h 659955"/>
              <a:gd name="connsiteX7" fmla="*/ 1899795 w 3169037"/>
              <a:gd name="connsiteY7" fmla="*/ 346057 h 659955"/>
              <a:gd name="connsiteX8" fmla="*/ 1954386 w 3169037"/>
              <a:gd name="connsiteY8" fmla="*/ 387000 h 659955"/>
              <a:gd name="connsiteX9" fmla="*/ 1995329 w 3169037"/>
              <a:gd name="connsiteY9" fmla="*/ 427943 h 659955"/>
              <a:gd name="connsiteX10" fmla="*/ 2036272 w 3169037"/>
              <a:gd name="connsiteY10" fmla="*/ 441591 h 659955"/>
              <a:gd name="connsiteX11" fmla="*/ 2172750 w 3169037"/>
              <a:gd name="connsiteY11" fmla="*/ 564421 h 659955"/>
              <a:gd name="connsiteX12" fmla="*/ 2213693 w 3169037"/>
              <a:gd name="connsiteY12" fmla="*/ 578069 h 659955"/>
              <a:gd name="connsiteX13" fmla="*/ 2363819 w 3169037"/>
              <a:gd name="connsiteY13" fmla="*/ 659955 h 659955"/>
              <a:gd name="connsiteX14" fmla="*/ 2814195 w 3169037"/>
              <a:gd name="connsiteY14" fmla="*/ 619012 h 659955"/>
              <a:gd name="connsiteX15" fmla="*/ 2909729 w 3169037"/>
              <a:gd name="connsiteY15" fmla="*/ 591717 h 659955"/>
              <a:gd name="connsiteX16" fmla="*/ 2937025 w 3169037"/>
              <a:gd name="connsiteY16" fmla="*/ 550773 h 659955"/>
              <a:gd name="connsiteX17" fmla="*/ 2977968 w 3169037"/>
              <a:gd name="connsiteY17" fmla="*/ 523478 h 659955"/>
              <a:gd name="connsiteX18" fmla="*/ 3018911 w 3169037"/>
              <a:gd name="connsiteY18" fmla="*/ 482534 h 659955"/>
              <a:gd name="connsiteX19" fmla="*/ 3059855 w 3169037"/>
              <a:gd name="connsiteY19" fmla="*/ 455239 h 659955"/>
              <a:gd name="connsiteX20" fmla="*/ 3100798 w 3169037"/>
              <a:gd name="connsiteY20" fmla="*/ 414296 h 659955"/>
              <a:gd name="connsiteX21" fmla="*/ 3169037 w 3169037"/>
              <a:gd name="connsiteY2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1995329 w 3169037"/>
              <a:gd name="connsiteY8" fmla="*/ 427943 h 659955"/>
              <a:gd name="connsiteX9" fmla="*/ 2036272 w 3169037"/>
              <a:gd name="connsiteY9" fmla="*/ 441591 h 659955"/>
              <a:gd name="connsiteX10" fmla="*/ 2172750 w 3169037"/>
              <a:gd name="connsiteY10" fmla="*/ 564421 h 659955"/>
              <a:gd name="connsiteX11" fmla="*/ 2213693 w 3169037"/>
              <a:gd name="connsiteY11" fmla="*/ 578069 h 659955"/>
              <a:gd name="connsiteX12" fmla="*/ 2363819 w 3169037"/>
              <a:gd name="connsiteY12" fmla="*/ 659955 h 659955"/>
              <a:gd name="connsiteX13" fmla="*/ 2814195 w 3169037"/>
              <a:gd name="connsiteY13" fmla="*/ 619012 h 659955"/>
              <a:gd name="connsiteX14" fmla="*/ 2909729 w 3169037"/>
              <a:gd name="connsiteY14" fmla="*/ 591717 h 659955"/>
              <a:gd name="connsiteX15" fmla="*/ 2937025 w 3169037"/>
              <a:gd name="connsiteY15" fmla="*/ 550773 h 659955"/>
              <a:gd name="connsiteX16" fmla="*/ 2977968 w 3169037"/>
              <a:gd name="connsiteY16" fmla="*/ 523478 h 659955"/>
              <a:gd name="connsiteX17" fmla="*/ 3018911 w 3169037"/>
              <a:gd name="connsiteY17" fmla="*/ 482534 h 659955"/>
              <a:gd name="connsiteX18" fmla="*/ 3059855 w 3169037"/>
              <a:gd name="connsiteY18" fmla="*/ 455239 h 659955"/>
              <a:gd name="connsiteX19" fmla="*/ 3100798 w 3169037"/>
              <a:gd name="connsiteY19" fmla="*/ 414296 h 659955"/>
              <a:gd name="connsiteX20" fmla="*/ 3169037 w 3169037"/>
              <a:gd name="connsiteY2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2036272 w 3169037"/>
              <a:gd name="connsiteY8" fmla="*/ 441591 h 659955"/>
              <a:gd name="connsiteX9" fmla="*/ 2172750 w 3169037"/>
              <a:gd name="connsiteY9" fmla="*/ 564421 h 659955"/>
              <a:gd name="connsiteX10" fmla="*/ 2213693 w 3169037"/>
              <a:gd name="connsiteY10" fmla="*/ 578069 h 659955"/>
              <a:gd name="connsiteX11" fmla="*/ 2363819 w 3169037"/>
              <a:gd name="connsiteY11" fmla="*/ 659955 h 659955"/>
              <a:gd name="connsiteX12" fmla="*/ 2814195 w 3169037"/>
              <a:gd name="connsiteY12" fmla="*/ 619012 h 659955"/>
              <a:gd name="connsiteX13" fmla="*/ 2909729 w 3169037"/>
              <a:gd name="connsiteY13" fmla="*/ 591717 h 659955"/>
              <a:gd name="connsiteX14" fmla="*/ 2937025 w 3169037"/>
              <a:gd name="connsiteY14" fmla="*/ 550773 h 659955"/>
              <a:gd name="connsiteX15" fmla="*/ 2977968 w 3169037"/>
              <a:gd name="connsiteY15" fmla="*/ 523478 h 659955"/>
              <a:gd name="connsiteX16" fmla="*/ 3018911 w 3169037"/>
              <a:gd name="connsiteY16" fmla="*/ 482534 h 659955"/>
              <a:gd name="connsiteX17" fmla="*/ 3059855 w 3169037"/>
              <a:gd name="connsiteY17" fmla="*/ 455239 h 659955"/>
              <a:gd name="connsiteX18" fmla="*/ 3100798 w 3169037"/>
              <a:gd name="connsiteY18" fmla="*/ 414296 h 659955"/>
              <a:gd name="connsiteX19" fmla="*/ 3169037 w 3169037"/>
              <a:gd name="connsiteY1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036272 w 3169037"/>
              <a:gd name="connsiteY7" fmla="*/ 441591 h 659955"/>
              <a:gd name="connsiteX8" fmla="*/ 2172750 w 3169037"/>
              <a:gd name="connsiteY8" fmla="*/ 564421 h 659955"/>
              <a:gd name="connsiteX9" fmla="*/ 2213693 w 3169037"/>
              <a:gd name="connsiteY9" fmla="*/ 578069 h 659955"/>
              <a:gd name="connsiteX10" fmla="*/ 2363819 w 3169037"/>
              <a:gd name="connsiteY10" fmla="*/ 659955 h 659955"/>
              <a:gd name="connsiteX11" fmla="*/ 2814195 w 3169037"/>
              <a:gd name="connsiteY11" fmla="*/ 619012 h 659955"/>
              <a:gd name="connsiteX12" fmla="*/ 2909729 w 3169037"/>
              <a:gd name="connsiteY12" fmla="*/ 591717 h 659955"/>
              <a:gd name="connsiteX13" fmla="*/ 2937025 w 3169037"/>
              <a:gd name="connsiteY13" fmla="*/ 550773 h 659955"/>
              <a:gd name="connsiteX14" fmla="*/ 2977968 w 3169037"/>
              <a:gd name="connsiteY14" fmla="*/ 523478 h 659955"/>
              <a:gd name="connsiteX15" fmla="*/ 3018911 w 3169037"/>
              <a:gd name="connsiteY15" fmla="*/ 482534 h 659955"/>
              <a:gd name="connsiteX16" fmla="*/ 3059855 w 3169037"/>
              <a:gd name="connsiteY16" fmla="*/ 455239 h 659955"/>
              <a:gd name="connsiteX17" fmla="*/ 3100798 w 3169037"/>
              <a:gd name="connsiteY17" fmla="*/ 414296 h 659955"/>
              <a:gd name="connsiteX18" fmla="*/ 3169037 w 3169037"/>
              <a:gd name="connsiteY1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213693 w 3169037"/>
              <a:gd name="connsiteY8" fmla="*/ 578069 h 659955"/>
              <a:gd name="connsiteX9" fmla="*/ 2363819 w 3169037"/>
              <a:gd name="connsiteY9" fmla="*/ 659955 h 659955"/>
              <a:gd name="connsiteX10" fmla="*/ 2814195 w 3169037"/>
              <a:gd name="connsiteY10" fmla="*/ 619012 h 659955"/>
              <a:gd name="connsiteX11" fmla="*/ 2909729 w 3169037"/>
              <a:gd name="connsiteY11" fmla="*/ 591717 h 659955"/>
              <a:gd name="connsiteX12" fmla="*/ 2937025 w 3169037"/>
              <a:gd name="connsiteY12" fmla="*/ 550773 h 659955"/>
              <a:gd name="connsiteX13" fmla="*/ 2977968 w 3169037"/>
              <a:gd name="connsiteY13" fmla="*/ 523478 h 659955"/>
              <a:gd name="connsiteX14" fmla="*/ 3018911 w 3169037"/>
              <a:gd name="connsiteY14" fmla="*/ 482534 h 659955"/>
              <a:gd name="connsiteX15" fmla="*/ 3059855 w 3169037"/>
              <a:gd name="connsiteY15" fmla="*/ 455239 h 659955"/>
              <a:gd name="connsiteX16" fmla="*/ 3100798 w 3169037"/>
              <a:gd name="connsiteY16" fmla="*/ 414296 h 659955"/>
              <a:gd name="connsiteX17" fmla="*/ 3169037 w 3169037"/>
              <a:gd name="connsiteY1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363819 w 3169037"/>
              <a:gd name="connsiteY8" fmla="*/ 659955 h 659955"/>
              <a:gd name="connsiteX9" fmla="*/ 2814195 w 3169037"/>
              <a:gd name="connsiteY9" fmla="*/ 619012 h 659955"/>
              <a:gd name="connsiteX10" fmla="*/ 2909729 w 3169037"/>
              <a:gd name="connsiteY10" fmla="*/ 591717 h 659955"/>
              <a:gd name="connsiteX11" fmla="*/ 2937025 w 3169037"/>
              <a:gd name="connsiteY11" fmla="*/ 550773 h 659955"/>
              <a:gd name="connsiteX12" fmla="*/ 2977968 w 3169037"/>
              <a:gd name="connsiteY12" fmla="*/ 523478 h 659955"/>
              <a:gd name="connsiteX13" fmla="*/ 3018911 w 3169037"/>
              <a:gd name="connsiteY13" fmla="*/ 482534 h 659955"/>
              <a:gd name="connsiteX14" fmla="*/ 3059855 w 3169037"/>
              <a:gd name="connsiteY14" fmla="*/ 455239 h 659955"/>
              <a:gd name="connsiteX15" fmla="*/ 3100798 w 3169037"/>
              <a:gd name="connsiteY15" fmla="*/ 414296 h 659955"/>
              <a:gd name="connsiteX16" fmla="*/ 3169037 w 3169037"/>
              <a:gd name="connsiteY16"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37025 w 3169037"/>
              <a:gd name="connsiteY10" fmla="*/ 550773 h 659955"/>
              <a:gd name="connsiteX11" fmla="*/ 2977968 w 3169037"/>
              <a:gd name="connsiteY11" fmla="*/ 523478 h 659955"/>
              <a:gd name="connsiteX12" fmla="*/ 3018911 w 3169037"/>
              <a:gd name="connsiteY12" fmla="*/ 482534 h 659955"/>
              <a:gd name="connsiteX13" fmla="*/ 3059855 w 3169037"/>
              <a:gd name="connsiteY13" fmla="*/ 455239 h 659955"/>
              <a:gd name="connsiteX14" fmla="*/ 3100798 w 3169037"/>
              <a:gd name="connsiteY14" fmla="*/ 414296 h 659955"/>
              <a:gd name="connsiteX15" fmla="*/ 3169037 w 3169037"/>
              <a:gd name="connsiteY15"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77968 w 3169037"/>
              <a:gd name="connsiteY10" fmla="*/ 523478 h 659955"/>
              <a:gd name="connsiteX11" fmla="*/ 3018911 w 3169037"/>
              <a:gd name="connsiteY11" fmla="*/ 482534 h 659955"/>
              <a:gd name="connsiteX12" fmla="*/ 3059855 w 3169037"/>
              <a:gd name="connsiteY12" fmla="*/ 455239 h 659955"/>
              <a:gd name="connsiteX13" fmla="*/ 3100798 w 3169037"/>
              <a:gd name="connsiteY13" fmla="*/ 414296 h 659955"/>
              <a:gd name="connsiteX14" fmla="*/ 3169037 w 3169037"/>
              <a:gd name="connsiteY14"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00798 w 3169037"/>
              <a:gd name="connsiteY12" fmla="*/ 414296 h 659955"/>
              <a:gd name="connsiteX13" fmla="*/ 3169037 w 3169037"/>
              <a:gd name="connsiteY1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69037 w 3169037"/>
              <a:gd name="connsiteY1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169037 w 3169037"/>
              <a:gd name="connsiteY1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169037 w 3169037"/>
              <a:gd name="connsiteY1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3169037 w 3169037"/>
              <a:gd name="connsiteY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3169037 w 3169037"/>
              <a:gd name="connsiteY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363819 w 3169037"/>
              <a:gd name="connsiteY6" fmla="*/ 659955 h 659955"/>
              <a:gd name="connsiteX7" fmla="*/ 3169037 w 3169037"/>
              <a:gd name="connsiteY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2363819 w 3169037"/>
              <a:gd name="connsiteY5" fmla="*/ 659955 h 659955"/>
              <a:gd name="connsiteX6" fmla="*/ 3169037 w 3169037"/>
              <a:gd name="connsiteY6" fmla="*/ 373352 h 659955"/>
              <a:gd name="connsiteX0" fmla="*/ 16404 w 3169037"/>
              <a:gd name="connsiteY0" fmla="*/ 215836 h 666212"/>
              <a:gd name="connsiteX1" fmla="*/ 84643 w 3169037"/>
              <a:gd name="connsiteY1" fmla="*/ 202188 h 666212"/>
              <a:gd name="connsiteX2" fmla="*/ 944452 w 3169037"/>
              <a:gd name="connsiteY2" fmla="*/ 11120 h 666212"/>
              <a:gd name="connsiteX3" fmla="*/ 1449419 w 3169037"/>
              <a:gd name="connsiteY3" fmla="*/ 93006 h 666212"/>
              <a:gd name="connsiteX4" fmla="*/ 2363819 w 3169037"/>
              <a:gd name="connsiteY4" fmla="*/ 666212 h 666212"/>
              <a:gd name="connsiteX5" fmla="*/ 3169037 w 3169037"/>
              <a:gd name="connsiteY5" fmla="*/ 379609 h 666212"/>
              <a:gd name="connsiteX0" fmla="*/ 16404 w 3169037"/>
              <a:gd name="connsiteY0" fmla="*/ 220278 h 670654"/>
              <a:gd name="connsiteX1" fmla="*/ 84643 w 3169037"/>
              <a:gd name="connsiteY1" fmla="*/ 206630 h 670654"/>
              <a:gd name="connsiteX2" fmla="*/ 944452 w 3169037"/>
              <a:gd name="connsiteY2" fmla="*/ 15562 h 670654"/>
              <a:gd name="connsiteX3" fmla="*/ 2363819 w 3169037"/>
              <a:gd name="connsiteY3" fmla="*/ 670654 h 670654"/>
              <a:gd name="connsiteX4" fmla="*/ 3169037 w 3169037"/>
              <a:gd name="connsiteY4" fmla="*/ 384051 h 670654"/>
              <a:gd name="connsiteX0" fmla="*/ 0 w 3152633"/>
              <a:gd name="connsiteY0" fmla="*/ 219294 h 669670"/>
              <a:gd name="connsiteX1" fmla="*/ 928048 w 3152633"/>
              <a:gd name="connsiteY1" fmla="*/ 14578 h 669670"/>
              <a:gd name="connsiteX2" fmla="*/ 2347415 w 3152633"/>
              <a:gd name="connsiteY2" fmla="*/ 669670 h 669670"/>
              <a:gd name="connsiteX3" fmla="*/ 3152633 w 3152633"/>
              <a:gd name="connsiteY3" fmla="*/ 383067 h 669670"/>
              <a:gd name="connsiteX0" fmla="*/ 0 w 3152633"/>
              <a:gd name="connsiteY0" fmla="*/ 219294 h 670870"/>
              <a:gd name="connsiteX1" fmla="*/ 928048 w 3152633"/>
              <a:gd name="connsiteY1" fmla="*/ 14578 h 670870"/>
              <a:gd name="connsiteX2" fmla="*/ 2347415 w 3152633"/>
              <a:gd name="connsiteY2" fmla="*/ 669670 h 670870"/>
              <a:gd name="connsiteX3" fmla="*/ 3152633 w 3152633"/>
              <a:gd name="connsiteY3" fmla="*/ 383067 h 670870"/>
              <a:gd name="connsiteX0" fmla="*/ 0 w 3152633"/>
              <a:gd name="connsiteY0" fmla="*/ 219294 h 669683"/>
              <a:gd name="connsiteX1" fmla="*/ 928048 w 3152633"/>
              <a:gd name="connsiteY1" fmla="*/ 14578 h 669683"/>
              <a:gd name="connsiteX2" fmla="*/ 2347415 w 3152633"/>
              <a:gd name="connsiteY2" fmla="*/ 669670 h 669683"/>
              <a:gd name="connsiteX3" fmla="*/ 3152633 w 3152633"/>
              <a:gd name="connsiteY3" fmla="*/ 383067 h 669683"/>
              <a:gd name="connsiteX0" fmla="*/ 0 w 3152633"/>
              <a:gd name="connsiteY0" fmla="*/ 165665 h 622443"/>
              <a:gd name="connsiteX1" fmla="*/ 1156648 w 3152633"/>
              <a:gd name="connsiteY1" fmla="*/ 18099 h 622443"/>
              <a:gd name="connsiteX2" fmla="*/ 2347415 w 3152633"/>
              <a:gd name="connsiteY2" fmla="*/ 616041 h 622443"/>
              <a:gd name="connsiteX3" fmla="*/ 3152633 w 3152633"/>
              <a:gd name="connsiteY3" fmla="*/ 329438 h 622443"/>
            </a:gdLst>
            <a:ahLst/>
            <a:cxnLst>
              <a:cxn ang="0">
                <a:pos x="connsiteX0" y="connsiteY0"/>
              </a:cxn>
              <a:cxn ang="0">
                <a:pos x="connsiteX1" y="connsiteY1"/>
              </a:cxn>
              <a:cxn ang="0">
                <a:pos x="connsiteX2" y="connsiteY2"/>
              </a:cxn>
              <a:cxn ang="0">
                <a:pos x="connsiteX3" y="connsiteY3"/>
              </a:cxn>
            </a:cxnLst>
            <a:rect l="l" t="t" r="r" b="b"/>
            <a:pathLst>
              <a:path w="3152633" h="622443">
                <a:moveTo>
                  <a:pt x="0" y="165665"/>
                </a:moveTo>
                <a:cubicBezTo>
                  <a:pt x="193343" y="123016"/>
                  <a:pt x="765412" y="-56964"/>
                  <a:pt x="1156648" y="18099"/>
                </a:cubicBezTo>
                <a:cubicBezTo>
                  <a:pt x="1547884" y="93162"/>
                  <a:pt x="2014751" y="564151"/>
                  <a:pt x="2347415" y="616041"/>
                </a:cubicBezTo>
                <a:cubicBezTo>
                  <a:pt x="2680079" y="667931"/>
                  <a:pt x="2984879" y="389147"/>
                  <a:pt x="3152633" y="329438"/>
                </a:cubicBezTo>
              </a:path>
            </a:pathLst>
          </a:custGeom>
          <a:noFill/>
          <a:ln w="19050">
            <a:solidFill>
              <a:srgbClr val="00B050"/>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Box 19"/>
          <p:cNvSpPr txBox="1"/>
          <p:nvPr/>
        </p:nvSpPr>
        <p:spPr>
          <a:xfrm>
            <a:off x="2370528" y="4736135"/>
            <a:ext cx="3349948" cy="257369"/>
          </a:xfrm>
          <a:prstGeom prst="rect">
            <a:avLst/>
          </a:prstGeom>
          <a:noFill/>
        </p:spPr>
        <p:txBody>
          <a:bodyPr wrap="square" lIns="36000" tIns="36000" rIns="36000" bIns="36000" rtlCol="0">
            <a:spAutoFit/>
          </a:bodyPr>
          <a:lstStyle/>
          <a:p>
            <a:r>
              <a:rPr lang="en-AU" sz="1200" i="1" dirty="0" smtClean="0"/>
              <a:t>With </a:t>
            </a:r>
            <a:r>
              <a:rPr lang="en-AU" sz="1200" i="1" dirty="0" err="1" smtClean="0"/>
              <a:t>Specializ</a:t>
            </a:r>
            <a:r>
              <a:rPr lang="en-AU" sz="1200" i="1" dirty="0" smtClean="0"/>
              <a:t> – Effort decreases with usage</a:t>
            </a:r>
            <a:endParaRPr lang="en-AU" sz="1200" i="1" dirty="0" smtClean="0">
              <a:solidFill>
                <a:schemeClr val="tx1"/>
              </a:solidFill>
            </a:endParaRPr>
          </a:p>
        </p:txBody>
      </p:sp>
      <p:sp>
        <p:nvSpPr>
          <p:cNvPr id="21" name="TextBox 20"/>
          <p:cNvSpPr txBox="1"/>
          <p:nvPr/>
        </p:nvSpPr>
        <p:spPr>
          <a:xfrm>
            <a:off x="2334004" y="2885496"/>
            <a:ext cx="3138117" cy="442035"/>
          </a:xfrm>
          <a:prstGeom prst="rect">
            <a:avLst/>
          </a:prstGeom>
          <a:noFill/>
        </p:spPr>
        <p:txBody>
          <a:bodyPr wrap="square" lIns="36000" tIns="36000" rIns="36000" bIns="36000" rtlCol="0">
            <a:spAutoFit/>
          </a:bodyPr>
          <a:lstStyle/>
          <a:p>
            <a:r>
              <a:rPr lang="en-AU" sz="1200" i="1" dirty="0" smtClean="0"/>
              <a:t>Workshop approach – Effort is constant and duplicated across assessments</a:t>
            </a:r>
            <a:endParaRPr lang="en-AU" sz="1200" i="1" dirty="0" smtClean="0">
              <a:solidFill>
                <a:schemeClr val="tx1"/>
              </a:solidFill>
            </a:endParaRPr>
          </a:p>
        </p:txBody>
      </p:sp>
      <p:sp>
        <p:nvSpPr>
          <p:cNvPr id="3" name="Text Placeholder 2"/>
          <p:cNvSpPr>
            <a:spLocks noGrp="1"/>
          </p:cNvSpPr>
          <p:nvPr>
            <p:ph type="body" sz="quarter" idx="12"/>
          </p:nvPr>
        </p:nvSpPr>
        <p:spPr>
          <a:xfrm>
            <a:off x="362142" y="834950"/>
            <a:ext cx="8362950" cy="2029436"/>
          </a:xfrm>
          <a:solidFill>
            <a:schemeClr val="bg1"/>
          </a:solidFill>
        </p:spPr>
        <p:txBody>
          <a:bodyPr/>
          <a:lstStyle/>
          <a:p>
            <a:pPr marL="231775" indent="-231775">
              <a:buFont typeface="Wingdings" pitchFamily="2" charset="2"/>
              <a:buChar char="§"/>
            </a:pPr>
            <a:r>
              <a:rPr lang="en-AU" dirty="0" smtClean="0"/>
              <a:t>Each issue across all project dimensions will require ~ 154 hours per incident using the interview/workshop approach</a:t>
            </a:r>
          </a:p>
          <a:p>
            <a:pPr marL="231775" indent="-231775">
              <a:buFont typeface="Wingdings" pitchFamily="2" charset="2"/>
              <a:buChar char="§"/>
            </a:pPr>
            <a:r>
              <a:rPr lang="en-AU" dirty="0" err="1" smtClean="0"/>
              <a:t>Specializ</a:t>
            </a:r>
            <a:r>
              <a:rPr lang="en-AU" dirty="0" smtClean="0"/>
              <a:t> requires only 3.5 hours for the initial assessment and a fraction of that for each subsequent assessment, regardless of the topic of interest</a:t>
            </a:r>
          </a:p>
          <a:p>
            <a:pPr marL="231775" indent="-231775">
              <a:buFont typeface="Wingdings" pitchFamily="2" charset="2"/>
              <a:buChar char="§"/>
            </a:pPr>
            <a:r>
              <a:rPr lang="en-AU" dirty="0" smtClean="0"/>
              <a:t>If required, one-off assessments can be accomplished in minutes</a:t>
            </a:r>
          </a:p>
        </p:txBody>
      </p:sp>
      <p:sp>
        <p:nvSpPr>
          <p:cNvPr id="31" name="TextBox 30"/>
          <p:cNvSpPr txBox="1"/>
          <p:nvPr/>
        </p:nvSpPr>
        <p:spPr>
          <a:xfrm rot="16200000">
            <a:off x="537739" y="4350655"/>
            <a:ext cx="988916" cy="257369"/>
          </a:xfrm>
          <a:prstGeom prst="rect">
            <a:avLst/>
          </a:prstGeom>
          <a:noFill/>
        </p:spPr>
        <p:txBody>
          <a:bodyPr wrap="square" lIns="36000" tIns="36000" rIns="36000" bIns="36000" rtlCol="0">
            <a:spAutoFit/>
          </a:bodyPr>
          <a:lstStyle/>
          <a:p>
            <a:pPr indent="177800" algn="ctr"/>
            <a:r>
              <a:rPr lang="en-US" sz="1200" b="1" dirty="0" smtClean="0">
                <a:solidFill>
                  <a:schemeClr val="tx1"/>
                </a:solidFill>
              </a:rPr>
              <a:t>Hours</a:t>
            </a:r>
          </a:p>
        </p:txBody>
      </p:sp>
      <p:grpSp>
        <p:nvGrpSpPr>
          <p:cNvPr id="16" name="Group 15"/>
          <p:cNvGrpSpPr/>
          <p:nvPr/>
        </p:nvGrpSpPr>
        <p:grpSpPr>
          <a:xfrm>
            <a:off x="0" y="6223000"/>
            <a:ext cx="9144000" cy="635000"/>
            <a:chOff x="0" y="6223000"/>
            <a:chExt cx="9144000" cy="635000"/>
          </a:xfrm>
        </p:grpSpPr>
        <p:pic>
          <p:nvPicPr>
            <p:cNvPr id="17"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specializ.png"/>
            <p:cNvPicPr>
              <a:picLocks noChangeAspect="1"/>
            </p:cNvPicPr>
            <p:nvPr/>
          </p:nvPicPr>
          <p:blipFill>
            <a:blip r:embed="rId5"/>
            <a:stretch>
              <a:fillRect/>
            </a:stretch>
          </p:blipFill>
          <p:spPr>
            <a:xfrm>
              <a:off x="7708900" y="6223000"/>
              <a:ext cx="1016000" cy="405258"/>
            </a:xfrm>
            <a:prstGeom prst="rect">
              <a:avLst/>
            </a:prstGeom>
          </p:spPr>
        </p:pic>
      </p:grpSp>
      <p:grpSp>
        <p:nvGrpSpPr>
          <p:cNvPr id="13" name="Group 23"/>
          <p:cNvGrpSpPr/>
          <p:nvPr/>
        </p:nvGrpSpPr>
        <p:grpSpPr>
          <a:xfrm>
            <a:off x="6267243" y="4711342"/>
            <a:ext cx="961369" cy="819613"/>
            <a:chOff x="7560860" y="1390246"/>
            <a:chExt cx="1320541" cy="1125823"/>
          </a:xfrm>
        </p:grpSpPr>
        <p:sp>
          <p:nvSpPr>
            <p:cNvPr id="25" name="Rectangle 24"/>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26" name="TextBox 25"/>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27" name="TextBox 26"/>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28" name="Straight Connector 27"/>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1854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cheduling and performing Project Risk Assessments</a:t>
            </a:r>
            <a:endParaRPr lang="en-AU" dirty="0"/>
          </a:p>
        </p:txBody>
      </p:sp>
      <p:graphicFrame>
        <p:nvGraphicFramePr>
          <p:cNvPr id="4" name="Diagram 3"/>
          <p:cNvGraphicFramePr/>
          <p:nvPr>
            <p:extLst>
              <p:ext uri="{D42A27DB-BD31-4B8C-83A1-F6EECF244321}">
                <p14:modId xmlns:p14="http://schemas.microsoft.com/office/powerpoint/2010/main" val="2291406241"/>
              </p:ext>
            </p:extLst>
          </p:nvPr>
        </p:nvGraphicFramePr>
        <p:xfrm>
          <a:off x="-116009" y="862597"/>
          <a:ext cx="9376019" cy="5119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4626592" y="2213734"/>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7" name="TextBox 6"/>
          <p:cNvSpPr txBox="1"/>
          <p:nvPr/>
        </p:nvSpPr>
        <p:spPr>
          <a:xfrm>
            <a:off x="4626592" y="2840435"/>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8" name="TextBox 7"/>
          <p:cNvSpPr txBox="1"/>
          <p:nvPr/>
        </p:nvSpPr>
        <p:spPr>
          <a:xfrm>
            <a:off x="4626592" y="3467136"/>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9" name="TextBox 8"/>
          <p:cNvSpPr txBox="1"/>
          <p:nvPr/>
        </p:nvSpPr>
        <p:spPr>
          <a:xfrm>
            <a:off x="4626592" y="4093837"/>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0" name="TextBox 9"/>
          <p:cNvSpPr txBox="1"/>
          <p:nvPr/>
        </p:nvSpPr>
        <p:spPr>
          <a:xfrm>
            <a:off x="4626592" y="4720538"/>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1" name="TextBox 10"/>
          <p:cNvSpPr txBox="1"/>
          <p:nvPr/>
        </p:nvSpPr>
        <p:spPr>
          <a:xfrm>
            <a:off x="4626592" y="5347239"/>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2" name="TextBox 11"/>
          <p:cNvSpPr txBox="1"/>
          <p:nvPr/>
        </p:nvSpPr>
        <p:spPr>
          <a:xfrm>
            <a:off x="778622" y="226163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3" name="TextBox 12"/>
          <p:cNvSpPr txBox="1"/>
          <p:nvPr/>
        </p:nvSpPr>
        <p:spPr>
          <a:xfrm>
            <a:off x="778622" y="2881655"/>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4" name="TextBox 13"/>
          <p:cNvSpPr txBox="1"/>
          <p:nvPr/>
        </p:nvSpPr>
        <p:spPr>
          <a:xfrm>
            <a:off x="778622" y="351155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5" name="TextBox 14"/>
          <p:cNvSpPr txBox="1"/>
          <p:nvPr/>
        </p:nvSpPr>
        <p:spPr>
          <a:xfrm>
            <a:off x="778622" y="4124610"/>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6" name="TextBox 15"/>
          <p:cNvSpPr txBox="1"/>
          <p:nvPr/>
        </p:nvSpPr>
        <p:spPr>
          <a:xfrm>
            <a:off x="778622" y="4761758"/>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7" name="TextBox 16"/>
          <p:cNvSpPr txBox="1"/>
          <p:nvPr/>
        </p:nvSpPr>
        <p:spPr>
          <a:xfrm>
            <a:off x="778622" y="5378012"/>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grpSp>
        <p:nvGrpSpPr>
          <p:cNvPr id="18" name="Group 17"/>
          <p:cNvGrpSpPr/>
          <p:nvPr/>
        </p:nvGrpSpPr>
        <p:grpSpPr>
          <a:xfrm>
            <a:off x="0" y="6223000"/>
            <a:ext cx="9144000" cy="635000"/>
            <a:chOff x="0" y="6223000"/>
            <a:chExt cx="9144000" cy="635000"/>
          </a:xfrm>
        </p:grpSpPr>
        <p:pic>
          <p:nvPicPr>
            <p:cNvPr id="19"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446491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roject Assessment statistic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13714596"/>
              </p:ext>
            </p:extLst>
          </p:nvPr>
        </p:nvGraphicFramePr>
        <p:xfrm>
          <a:off x="368492" y="810334"/>
          <a:ext cx="8407020" cy="5078542"/>
        </p:xfrm>
        <a:graphic>
          <a:graphicData uri="http://schemas.openxmlformats.org/drawingml/2006/table">
            <a:tbl>
              <a:tblPr firstRow="1" bandRow="1">
                <a:tableStyleId>{58DD5831-5125-4D1D-A9A5-347843CA56AB}</a:tableStyleId>
              </a:tblPr>
              <a:tblGrid>
                <a:gridCol w="2143356"/>
                <a:gridCol w="3426246"/>
                <a:gridCol w="2837418"/>
              </a:tblGrid>
              <a:tr h="391995">
                <a:tc rowSpan="2">
                  <a:txBody>
                    <a:bodyPr/>
                    <a:lstStyle/>
                    <a:p>
                      <a:pPr algn="ctr"/>
                      <a:r>
                        <a:rPr lang="en-AU" dirty="0" smtClean="0"/>
                        <a:t>Consideration</a:t>
                      </a:r>
                      <a:endParaRPr lang="en-AU" dirty="0"/>
                    </a:p>
                  </a:txBody>
                  <a:tcPr anchor="ctr">
                    <a:lnR w="28575" cap="flat" cmpd="sng" algn="ctr">
                      <a:solidFill>
                        <a:schemeClr val="tx2">
                          <a:lumMod val="60000"/>
                          <a:lumOff val="40000"/>
                        </a:schemeClr>
                      </a:solidFill>
                      <a:prstDash val="solid"/>
                      <a:round/>
                      <a:headEnd type="none" w="med" len="med"/>
                      <a:tailEnd type="none" w="med" len="med"/>
                    </a:lnR>
                  </a:tcPr>
                </a:tc>
                <a:tc gridSpan="2">
                  <a:txBody>
                    <a:bodyPr/>
                    <a:lstStyle/>
                    <a:p>
                      <a:pPr algn="ctr"/>
                      <a:r>
                        <a:rPr lang="en-AU" dirty="0" smtClean="0"/>
                        <a:t>Data </a:t>
                      </a:r>
                      <a:r>
                        <a:rPr lang="en-AU" b="0" dirty="0" smtClean="0"/>
                        <a:t>Collection</a:t>
                      </a:r>
                      <a:r>
                        <a:rPr lang="en-AU" dirty="0" smtClean="0"/>
                        <a:t> Method</a:t>
                      </a:r>
                      <a:endParaRPr lang="en-AU" dirty="0"/>
                    </a:p>
                  </a:txBody>
                  <a:tcPr>
                    <a:lnL w="28575" cap="flat" cmpd="sng" algn="ctr">
                      <a:solidFill>
                        <a:schemeClr val="tx2">
                          <a:lumMod val="60000"/>
                          <a:lumOff val="40000"/>
                        </a:schemeClr>
                      </a:solidFill>
                      <a:prstDash val="solid"/>
                      <a:round/>
                      <a:headEnd type="none" w="med" len="med"/>
                      <a:tailEnd type="none" w="med" len="med"/>
                    </a:lnL>
                  </a:tcPr>
                </a:tc>
                <a:tc hMerge="1">
                  <a:txBody>
                    <a:bodyPr/>
                    <a:lstStyle/>
                    <a:p>
                      <a:endParaRPr lang="en-AU" dirty="0"/>
                    </a:p>
                  </a:txBody>
                  <a:tcPr/>
                </a:tc>
              </a:tr>
              <a:tr h="391995">
                <a:tc vMerge="1">
                  <a:txBody>
                    <a:bodyPr/>
                    <a:lstStyle/>
                    <a:p>
                      <a:endParaRPr lang="en-AU" dirty="0"/>
                    </a:p>
                  </a:txBody>
                  <a:tcPr/>
                </a:tc>
                <a:tc>
                  <a:txBody>
                    <a:bodyPr/>
                    <a:lstStyle/>
                    <a:p>
                      <a:pPr algn="ctr"/>
                      <a:r>
                        <a:rPr lang="en-AU" dirty="0" smtClean="0"/>
                        <a:t>Workshop</a:t>
                      </a:r>
                      <a:endParaRPr lang="en-AU"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tx2">
                        <a:lumMod val="20000"/>
                        <a:lumOff val="80000"/>
                      </a:schemeClr>
                    </a:solidFill>
                  </a:tcPr>
                </a:tc>
                <a:tc>
                  <a:txBody>
                    <a:bodyPr/>
                    <a:lstStyle/>
                    <a:p>
                      <a:pPr algn="ctr"/>
                      <a:r>
                        <a:rPr lang="en-AU" dirty="0" smtClean="0"/>
                        <a:t>Specializ</a:t>
                      </a:r>
                      <a:endParaRPr lang="en-AU" dirty="0"/>
                    </a:p>
                  </a:txBody>
                  <a:tcPr>
                    <a:lnL w="12700" cap="flat" cmpd="sng" algn="ctr">
                      <a:solidFill>
                        <a:schemeClr val="tx2">
                          <a:lumMod val="60000"/>
                          <a:lumOff val="40000"/>
                        </a:schemeClr>
                      </a:solidFill>
                      <a:prstDash val="solid"/>
                      <a:round/>
                      <a:headEnd type="none" w="med" len="med"/>
                      <a:tailEnd type="none" w="med" len="med"/>
                    </a:lnL>
                    <a:solidFill>
                      <a:schemeClr val="tx2">
                        <a:lumMod val="20000"/>
                        <a:lumOff val="80000"/>
                      </a:schemeClr>
                    </a:solidFill>
                  </a:tcPr>
                </a:tc>
              </a:tr>
              <a:tr h="374951">
                <a:tc>
                  <a:txBody>
                    <a:bodyPr/>
                    <a:lstStyle/>
                    <a:p>
                      <a:r>
                        <a:rPr lang="en-AU" sz="1600" dirty="0" smtClean="0"/>
                        <a:t>Project</a:t>
                      </a:r>
                      <a:r>
                        <a:rPr lang="en-AU" sz="1600" baseline="0" dirty="0" smtClean="0"/>
                        <a:t> </a:t>
                      </a:r>
                      <a:r>
                        <a:rPr lang="en-AU" sz="1600" dirty="0" smtClean="0"/>
                        <a:t>Manager’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22</a:t>
                      </a:r>
                      <a:r>
                        <a:rPr lang="en-AU" sz="1600" b="0" baseline="0" dirty="0" smtClean="0"/>
                        <a:t> x 7 x $100 = </a:t>
                      </a:r>
                      <a:r>
                        <a:rPr lang="en-AU" sz="1600" b="1" baseline="0" dirty="0" smtClean="0"/>
                        <a:t>$15,4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3.5 x $100 = </a:t>
                      </a:r>
                      <a:r>
                        <a:rPr lang="en-AU" sz="1600" b="1" dirty="0" smtClean="0"/>
                        <a:t>$3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374951">
                <a:tc>
                  <a:txBody>
                    <a:bodyPr/>
                    <a:lstStyle/>
                    <a:p>
                      <a:r>
                        <a:rPr lang="en-AU" sz="1600" dirty="0" smtClean="0"/>
                        <a:t>Participant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4 x $100 = </a:t>
                      </a:r>
                      <a:r>
                        <a:rPr lang="en-AU" sz="1600" b="1" dirty="0" smtClean="0"/>
                        <a:t>$28,0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75 x $100</a:t>
                      </a:r>
                      <a:r>
                        <a:rPr lang="en-AU" sz="1600" b="0" baseline="0" dirty="0" smtClean="0"/>
                        <a:t> = $</a:t>
                      </a:r>
                      <a:r>
                        <a:rPr lang="en-AU" sz="1600" b="1" baseline="0" dirty="0" smtClean="0"/>
                        <a:t>5,2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2522404">
                <a:tc>
                  <a:txBody>
                    <a:bodyPr/>
                    <a:lstStyle/>
                    <a:p>
                      <a:r>
                        <a:rPr lang="en-AU" dirty="0" smtClean="0"/>
                        <a:t>Mitigation Inaccuracy</a:t>
                      </a:r>
                    </a:p>
                    <a:p>
                      <a:r>
                        <a:rPr lang="en-AU" sz="1200" dirty="0" smtClean="0"/>
                        <a:t>(Actual risk mitigation spending should be $250,000)</a:t>
                      </a:r>
                      <a:endParaRPr lang="en-AU" sz="12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b="1" i="0" dirty="0" smtClean="0"/>
                        <a:t>The</a:t>
                      </a:r>
                      <a:r>
                        <a:rPr lang="en-AU" sz="1400" b="1" i="0" baseline="0" dirty="0" smtClean="0"/>
                        <a:t> fewer participants, the greater the degree of inaccuracy. </a:t>
                      </a:r>
                      <a:endParaRPr lang="en-AU" sz="800" b="1" i="0" baseline="0" dirty="0" smtClean="0"/>
                    </a:p>
                    <a:p>
                      <a:endParaRPr lang="en-AU" sz="800" baseline="0" dirty="0" smtClean="0"/>
                    </a:p>
                    <a:p>
                      <a:r>
                        <a:rPr lang="en-AU" sz="1400" u="sng" baseline="0" dirty="0" smtClean="0"/>
                        <a:t>Example</a:t>
                      </a:r>
                      <a:r>
                        <a:rPr lang="en-AU" sz="1400" baseline="0" dirty="0" smtClean="0"/>
                        <a:t>: An organization has 15,000 employees and only 70 are sampled (0.05%)</a:t>
                      </a:r>
                      <a:endParaRPr lang="en-AU" sz="800" baseline="0" dirty="0" smtClean="0"/>
                    </a:p>
                    <a:p>
                      <a:endParaRPr lang="en-AU" sz="800" baseline="0" dirty="0" smtClean="0"/>
                    </a:p>
                    <a:p>
                      <a:r>
                        <a:rPr lang="en-AU" sz="1400" u="sng" baseline="0" dirty="0" smtClean="0"/>
                        <a:t>Result</a:t>
                      </a:r>
                      <a:r>
                        <a:rPr lang="en-AU" sz="1400" baseline="0" dirty="0" smtClean="0"/>
                        <a:t>: Due to the extremely limited data collected from this small sample, accuracy could be off by as much as 1,000%, resulting in over/under assessment of risk funding requirements</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Specializ can include all 15,000 employees as easily as</a:t>
                      </a:r>
                      <a:r>
                        <a:rPr lang="en-AU" sz="1400" baseline="0" dirty="0" smtClean="0"/>
                        <a:t> 70, dramatically increasing the accuracy of the results.</a:t>
                      </a:r>
                      <a:endParaRPr lang="en-AU" sz="800" baseline="0" dirty="0" smtClean="0"/>
                    </a:p>
                    <a:p>
                      <a:endParaRPr lang="en-AU" sz="800" baseline="0" dirty="0" smtClean="0"/>
                    </a:p>
                    <a:p>
                      <a:r>
                        <a:rPr lang="en-AU" sz="1400" baseline="0" dirty="0" smtClean="0"/>
                        <a:t>This brings mitigation spending estimates much closer to their true values</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r h="818077">
                <a:tc>
                  <a:txBody>
                    <a:bodyPr/>
                    <a:lstStyle/>
                    <a:p>
                      <a:r>
                        <a:rPr lang="en-AU" sz="1400" b="1" dirty="0" smtClean="0"/>
                        <a:t>Number of yearly</a:t>
                      </a:r>
                      <a:r>
                        <a:rPr lang="en-AU" sz="1400" b="1" baseline="0" dirty="0" smtClean="0"/>
                        <a:t> health assessments</a:t>
                      </a:r>
                      <a:endParaRPr lang="en-AU" sz="1400" b="1"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Limited</a:t>
                      </a:r>
                      <a:r>
                        <a:rPr lang="en-AU" sz="1400" baseline="0" dirty="0" smtClean="0"/>
                        <a:t> to about 12 workshops per year per project manager</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Can</a:t>
                      </a:r>
                      <a:r>
                        <a:rPr lang="en-AU" sz="1400" baseline="0" dirty="0" smtClean="0"/>
                        <a:t> perform up to 900 Project Assessment with one project manager</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bl>
          </a:graphicData>
        </a:graphic>
      </p:graphicFrame>
      <p:grpSp>
        <p:nvGrpSpPr>
          <p:cNvPr id="5" name="Group 4"/>
          <p:cNvGrpSpPr/>
          <p:nvPr/>
        </p:nvGrpSpPr>
        <p:grpSpPr>
          <a:xfrm>
            <a:off x="7691616" y="4113636"/>
            <a:ext cx="961369" cy="819613"/>
            <a:chOff x="7560860" y="1390246"/>
            <a:chExt cx="1320541" cy="1125823"/>
          </a:xfrm>
        </p:grpSpPr>
        <p:sp>
          <p:nvSpPr>
            <p:cNvPr id="6" name="Rectangle 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7" name="TextBox 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8" name="TextBox 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Rounded Rectangle 14"/>
          <p:cNvSpPr/>
          <p:nvPr/>
        </p:nvSpPr>
        <p:spPr>
          <a:xfrm>
            <a:off x="374573" y="5761822"/>
            <a:ext cx="8416887" cy="672028"/>
          </a:xfrm>
          <a:prstGeom prst="roundRect">
            <a:avLst>
              <a:gd name="adj" fmla="val 13388"/>
            </a:avLst>
          </a:prstGeom>
          <a:solidFill>
            <a:schemeClr val="tx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
          <p:cNvSpPr txBox="1">
            <a:spLocks/>
          </p:cNvSpPr>
          <p:nvPr/>
        </p:nvSpPr>
        <p:spPr>
          <a:xfrm>
            <a:off x="525561" y="5820582"/>
            <a:ext cx="8232849" cy="713331"/>
          </a:xfrm>
          <a:prstGeom prst="rect">
            <a:avLst/>
          </a:prstGeom>
        </p:spPr>
        <p:txBody>
          <a:bodyPr wrap="square" lIns="0" tIns="0" rIns="0" bIns="0"/>
          <a:lstStyle/>
          <a:p>
            <a:pPr lvl="0" defTabSz="957263">
              <a:lnSpc>
                <a:spcPct val="106000"/>
              </a:lnSpc>
              <a:spcBef>
                <a:spcPts val="1344"/>
              </a:spcBef>
              <a:spcAft>
                <a:spcPts val="0"/>
              </a:spcAft>
            </a:pPr>
            <a:r>
              <a:rPr kumimoji="0" lang="en-AU" sz="1800" b="0" i="1" u="none" strike="noStrike" kern="1200" cap="none" spc="0" normalizeH="0" baseline="0" noProof="0" dirty="0" smtClean="0">
                <a:ln>
                  <a:noFill/>
                </a:ln>
                <a:solidFill>
                  <a:schemeClr val="tx1"/>
                </a:solidFill>
                <a:effectLst/>
                <a:uLnTx/>
                <a:uFillTx/>
                <a:latin typeface="+mn-lt"/>
                <a:ea typeface="+mn-ea"/>
                <a:cs typeface="+mn-cs"/>
              </a:rPr>
              <a:t>In the above example, </a:t>
            </a:r>
            <a:r>
              <a:rPr kumimoji="0" lang="en-AU" sz="1800" b="0" i="1" u="none" strike="noStrike" kern="1200" cap="none" spc="0" normalizeH="0" baseline="0" noProof="0" dirty="0" err="1" smtClean="0">
                <a:ln>
                  <a:noFill/>
                </a:ln>
                <a:solidFill>
                  <a:schemeClr val="tx1"/>
                </a:solidFill>
                <a:effectLst/>
                <a:uLnTx/>
                <a:uFillTx/>
                <a:latin typeface="+mn-lt"/>
                <a:ea typeface="+mn-ea"/>
                <a:cs typeface="+mn-cs"/>
              </a:rPr>
              <a:t>Specializ</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 cost savings over one </a:t>
            </a:r>
            <a:r>
              <a:rPr lang="en-AU" sz="1800" i="1" dirty="0" smtClean="0">
                <a:latin typeface="+mn-lt"/>
                <a:cs typeface="+mn-cs"/>
              </a:rPr>
              <a:t>workshop is </a:t>
            </a:r>
            <a:r>
              <a:rPr lang="en-AU" sz="1800" b="1" i="1" dirty="0" smtClean="0">
                <a:latin typeface="+mn-lt"/>
                <a:cs typeface="+mn-cs"/>
              </a:rPr>
              <a:t>$37,800</a:t>
            </a:r>
            <a:r>
              <a:rPr lang="en-AU" sz="1800" i="1" dirty="0" smtClean="0">
                <a:latin typeface="+mn-lt"/>
                <a:cs typeface="+mn-cs"/>
              </a:rPr>
              <a:t>, </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considering only participants’ and risk manager’s time</a:t>
            </a:r>
            <a:endParaRPr kumimoji="0" lang="en-AU" sz="1800" b="0" i="1"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018069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process of developing Project Assessments</a:t>
            </a:r>
            <a:endParaRPr lang="en-AU" dirty="0"/>
          </a:p>
        </p:txBody>
      </p:sp>
      <p:graphicFrame>
        <p:nvGraphicFramePr>
          <p:cNvPr id="5" name="Diagram 4"/>
          <p:cNvGraphicFramePr/>
          <p:nvPr>
            <p:extLst>
              <p:ext uri="{D42A27DB-BD31-4B8C-83A1-F6EECF244321}">
                <p14:modId xmlns:p14="http://schemas.microsoft.com/office/powerpoint/2010/main" val="1984959863"/>
              </p:ext>
            </p:extLst>
          </p:nvPr>
        </p:nvGraphicFramePr>
        <p:xfrm>
          <a:off x="-55073" y="1085095"/>
          <a:ext cx="6305266" cy="49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a:spLocks noChangeAspect="1"/>
          </p:cNvSpPr>
          <p:nvPr/>
        </p:nvSpPr>
        <p:spPr>
          <a:xfrm>
            <a:off x="2124288" y="1459835"/>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smtClean="0">
                <a:solidFill>
                  <a:schemeClr val="accent5"/>
                </a:solidFill>
              </a:rPr>
              <a:t>1</a:t>
            </a:r>
            <a:endParaRPr lang="en-AU" sz="2800" b="1" dirty="0">
              <a:solidFill>
                <a:schemeClr val="accent5"/>
              </a:solidFill>
            </a:endParaRPr>
          </a:p>
        </p:txBody>
      </p:sp>
      <p:sp>
        <p:nvSpPr>
          <p:cNvPr id="8" name="Rectangle 7"/>
          <p:cNvSpPr>
            <a:spLocks noChangeAspect="1"/>
          </p:cNvSpPr>
          <p:nvPr/>
        </p:nvSpPr>
        <p:spPr>
          <a:xfrm>
            <a:off x="4073780"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2</a:t>
            </a:r>
          </a:p>
        </p:txBody>
      </p:sp>
      <p:sp>
        <p:nvSpPr>
          <p:cNvPr id="9" name="Rectangle 8"/>
          <p:cNvSpPr>
            <a:spLocks noChangeAspect="1"/>
          </p:cNvSpPr>
          <p:nvPr/>
        </p:nvSpPr>
        <p:spPr>
          <a:xfrm>
            <a:off x="3297996" y="5117434"/>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3</a:t>
            </a:r>
          </a:p>
        </p:txBody>
      </p:sp>
      <p:sp>
        <p:nvSpPr>
          <p:cNvPr id="10" name="Rectangle 9"/>
          <p:cNvSpPr>
            <a:spLocks noChangeAspect="1"/>
          </p:cNvSpPr>
          <p:nvPr/>
        </p:nvSpPr>
        <p:spPr>
          <a:xfrm>
            <a:off x="991523" y="5112172"/>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4</a:t>
            </a:r>
          </a:p>
        </p:txBody>
      </p:sp>
      <p:sp>
        <p:nvSpPr>
          <p:cNvPr id="11" name="Rectangle 10"/>
          <p:cNvSpPr>
            <a:spLocks noChangeAspect="1"/>
          </p:cNvSpPr>
          <p:nvPr/>
        </p:nvSpPr>
        <p:spPr>
          <a:xfrm>
            <a:off x="254544"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5</a:t>
            </a:r>
          </a:p>
        </p:txBody>
      </p:sp>
      <p:sp>
        <p:nvSpPr>
          <p:cNvPr id="13" name="TextBox 12"/>
          <p:cNvSpPr txBox="1"/>
          <p:nvPr/>
        </p:nvSpPr>
        <p:spPr>
          <a:xfrm>
            <a:off x="5816083" y="1295235"/>
            <a:ext cx="3162663" cy="4504685"/>
          </a:xfrm>
          <a:prstGeom prst="rect">
            <a:avLst/>
          </a:prstGeom>
          <a:noFill/>
          <a:ln>
            <a:noFill/>
          </a:ln>
        </p:spPr>
        <p:txBody>
          <a:bodyPr wrap="square" lIns="36000" tIns="36000" rIns="36000" bIns="36000" rtlCol="0">
            <a:spAutoFit/>
          </a:bodyPr>
          <a:lstStyle/>
          <a:p>
            <a:pPr marL="228600" indent="-228600">
              <a:spcAft>
                <a:spcPts val="1800"/>
              </a:spcAft>
              <a:buFont typeface="+mj-lt"/>
              <a:buAutoNum type="arabicPeriod"/>
            </a:pPr>
            <a:r>
              <a:rPr lang="en-AU" sz="1200" dirty="0" smtClean="0">
                <a:solidFill>
                  <a:schemeClr val="tx1"/>
                </a:solidFill>
              </a:rPr>
              <a:t>The more individuals that contribute data in their areas of expertise, the higher the quality of the results</a:t>
            </a:r>
          </a:p>
          <a:p>
            <a:pPr marL="228600" indent="-228600">
              <a:spcAft>
                <a:spcPts val="1800"/>
              </a:spcAft>
              <a:buFont typeface="+mj-lt"/>
              <a:buAutoNum type="arabicPeriod"/>
            </a:pPr>
            <a:r>
              <a:rPr lang="en-AU" sz="1200" dirty="0" smtClean="0"/>
              <a:t>Participants can edit and delete safety issues/risks created by others, in addition to adding their own, greatly enhancing the overall information set</a:t>
            </a:r>
          </a:p>
          <a:p>
            <a:pPr marL="228600" indent="-228600">
              <a:spcAft>
                <a:spcPts val="1800"/>
              </a:spcAft>
              <a:buFont typeface="+mj-lt"/>
              <a:buAutoNum type="arabicPeriod"/>
            </a:pPr>
            <a:r>
              <a:rPr lang="en-AU" sz="1200" dirty="0" smtClean="0"/>
              <a:t>Each stream has a manager that provides quality control, helping to ensure that results are consistent and that the iterations move towards consensus</a:t>
            </a:r>
          </a:p>
          <a:p>
            <a:pPr marL="228600" indent="-228600">
              <a:spcAft>
                <a:spcPts val="1800"/>
              </a:spcAft>
              <a:buFont typeface="+mj-lt"/>
              <a:buAutoNum type="arabicPeriod"/>
            </a:pPr>
            <a:r>
              <a:rPr lang="en-AU" sz="1200" dirty="0" smtClean="0"/>
              <a:t>The consensus algorithm not only scores the existence of safety issues but also their applicability to the stream of users to ensure high quality results</a:t>
            </a:r>
          </a:p>
          <a:p>
            <a:pPr marL="228600" indent="-228600">
              <a:spcAft>
                <a:spcPts val="1800"/>
              </a:spcAft>
              <a:buFont typeface="+mj-lt"/>
              <a:buAutoNum type="arabicPeriod"/>
            </a:pPr>
            <a:r>
              <a:rPr lang="en-AU" sz="1200" dirty="0" smtClean="0"/>
              <a:t>Each participant submits his/her list to be scored and the system calculates agreement and either completes the assessment or initiates another iteration</a:t>
            </a:r>
            <a:endParaRPr lang="en-AU" sz="1200" dirty="0" smtClean="0">
              <a:solidFill>
                <a:schemeClr val="tx1"/>
              </a:solidFill>
            </a:endParaRPr>
          </a:p>
        </p:txBody>
      </p:sp>
      <p:sp>
        <p:nvSpPr>
          <p:cNvPr id="14" name="TextBox 13"/>
          <p:cNvSpPr txBox="1"/>
          <p:nvPr/>
        </p:nvSpPr>
        <p:spPr>
          <a:xfrm>
            <a:off x="5816084" y="936778"/>
            <a:ext cx="3070746" cy="257369"/>
          </a:xfrm>
          <a:prstGeom prst="rect">
            <a:avLst/>
          </a:prstGeom>
          <a:solidFill>
            <a:schemeClr val="accent5"/>
          </a:solidFill>
          <a:ln>
            <a:solidFill>
              <a:schemeClr val="accent5"/>
            </a:solidFill>
          </a:ln>
        </p:spPr>
        <p:txBody>
          <a:bodyPr wrap="square" lIns="36000" tIns="36000" rIns="36000" bIns="36000" rtlCol="0">
            <a:spAutoFit/>
          </a:bodyPr>
          <a:lstStyle/>
          <a:p>
            <a:pPr algn="ctr"/>
            <a:r>
              <a:rPr lang="en-AU" sz="1200" b="1" dirty="0" smtClean="0">
                <a:solidFill>
                  <a:schemeClr val="bg1"/>
                </a:solidFill>
              </a:rPr>
              <a:t>Specializ scoring and agreement</a:t>
            </a:r>
          </a:p>
        </p:txBody>
      </p:sp>
      <p:grpSp>
        <p:nvGrpSpPr>
          <p:cNvPr id="15" name="Group 14"/>
          <p:cNvGrpSpPr/>
          <p:nvPr/>
        </p:nvGrpSpPr>
        <p:grpSpPr>
          <a:xfrm>
            <a:off x="376742" y="1201189"/>
            <a:ext cx="961369" cy="819613"/>
            <a:chOff x="7560860" y="1390246"/>
            <a:chExt cx="1320541" cy="1125823"/>
          </a:xfrm>
        </p:grpSpPr>
        <p:sp>
          <p:nvSpPr>
            <p:cNvPr id="16" name="Rectangle 1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7" name="TextBox 1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8" name="TextBox 1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9" name="Straight Connector 1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0" y="6223000"/>
            <a:ext cx="9144000" cy="635000"/>
            <a:chOff x="0" y="6223000"/>
            <a:chExt cx="9144000" cy="635000"/>
          </a:xfrm>
        </p:grpSpPr>
        <p:pic>
          <p:nvPicPr>
            <p:cNvPr id="23"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5550695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7610475" y="2797175"/>
            <a:ext cx="1085850" cy="2781300"/>
          </a:xfrm>
          <a:prstGeom prst="roundRect">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Maintaining accurate project data</a:t>
            </a:r>
            <a:endParaRPr lang="en-AU" dirty="0"/>
          </a:p>
        </p:txBody>
      </p:sp>
      <p:sp>
        <p:nvSpPr>
          <p:cNvPr id="3" name="Text Placeholder 2"/>
          <p:cNvSpPr>
            <a:spLocks noGrp="1"/>
          </p:cNvSpPr>
          <p:nvPr>
            <p:ph type="body" sz="quarter" idx="12"/>
          </p:nvPr>
        </p:nvSpPr>
        <p:spPr>
          <a:xfrm>
            <a:off x="384175" y="1214260"/>
            <a:ext cx="8362950" cy="754240"/>
          </a:xfrm>
          <a:ln>
            <a:noFill/>
          </a:ln>
        </p:spPr>
        <p:txBody>
          <a:bodyPr/>
          <a:lstStyle/>
          <a:p>
            <a:pPr marL="0" indent="0"/>
            <a:r>
              <a:rPr lang="en-AU" dirty="0" smtClean="0"/>
              <a:t>Utilising workshops/interviews to collect and manage Project Assessments from stakeholders has timing problems that undermine the value of the information they generate.</a:t>
            </a:r>
          </a:p>
        </p:txBody>
      </p:sp>
      <p:sp>
        <p:nvSpPr>
          <p:cNvPr id="8" name="Isosceles Triangle 7"/>
          <p:cNvSpPr>
            <a:spLocks noChangeAspect="1"/>
          </p:cNvSpPr>
          <p:nvPr/>
        </p:nvSpPr>
        <p:spPr bwMode="auto">
          <a:xfrm rot="10800000">
            <a:off x="971564" y="3344193"/>
            <a:ext cx="192476" cy="320793"/>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600" b="0" i="0" u="none" strike="noStrike" cap="none" normalizeH="0" baseline="0" smtClean="0">
              <a:ln>
                <a:noFill/>
              </a:ln>
              <a:solidFill>
                <a:schemeClr val="tx1"/>
              </a:solidFill>
              <a:effectLst/>
              <a:latin typeface="Arial" charset="0"/>
            </a:endParaRPr>
          </a:p>
        </p:txBody>
      </p:sp>
      <p:sp>
        <p:nvSpPr>
          <p:cNvPr id="9" name="TextBox 8"/>
          <p:cNvSpPr txBox="1">
            <a:spLocks noChangeAspect="1"/>
          </p:cNvSpPr>
          <p:nvPr/>
        </p:nvSpPr>
        <p:spPr>
          <a:xfrm>
            <a:off x="564854" y="2838762"/>
            <a:ext cx="917233" cy="461665"/>
          </a:xfrm>
          <a:prstGeom prst="rect">
            <a:avLst/>
          </a:prstGeom>
          <a:noFill/>
        </p:spPr>
        <p:txBody>
          <a:bodyPr wrap="square" rtlCol="0">
            <a:spAutoFit/>
          </a:bodyPr>
          <a:lstStyle/>
          <a:p>
            <a:pPr algn="ctr"/>
            <a:r>
              <a:rPr lang="en-AU" sz="1200" b="1" dirty="0" smtClean="0"/>
              <a:t>Plan </a:t>
            </a:r>
          </a:p>
          <a:p>
            <a:pPr algn="ctr"/>
            <a:r>
              <a:rPr lang="en-AU" sz="1200" b="1" dirty="0"/>
              <a:t>w</a:t>
            </a:r>
            <a:r>
              <a:rPr lang="en-AU" sz="1200" b="1" dirty="0" smtClean="0"/>
              <a:t>orkshop</a:t>
            </a:r>
            <a:endParaRPr lang="en-AU" sz="1200" b="1" dirty="0"/>
          </a:p>
        </p:txBody>
      </p:sp>
      <p:grpSp>
        <p:nvGrpSpPr>
          <p:cNvPr id="4" name="Group 12"/>
          <p:cNvGrpSpPr>
            <a:grpSpLocks noChangeAspect="1"/>
          </p:cNvGrpSpPr>
          <p:nvPr/>
        </p:nvGrpSpPr>
        <p:grpSpPr>
          <a:xfrm>
            <a:off x="3106725" y="2878008"/>
            <a:ext cx="1134220" cy="786979"/>
            <a:chOff x="1210420" y="2833772"/>
            <a:chExt cx="1272984" cy="883260"/>
          </a:xfrm>
        </p:grpSpPr>
        <p:sp>
          <p:nvSpPr>
            <p:cNvPr id="14" name="Isosceles Triangle 13"/>
            <p:cNvSpPr/>
            <p:nvPr/>
          </p:nvSpPr>
          <p:spPr bwMode="auto">
            <a:xfrm rot="10800000">
              <a:off x="1738899" y="3356992"/>
              <a:ext cx="216024" cy="360040"/>
            </a:xfrm>
            <a:prstGeom prst="triangl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1210420" y="2833772"/>
              <a:ext cx="1272984" cy="518146"/>
            </a:xfrm>
            <a:prstGeom prst="rect">
              <a:avLst/>
            </a:prstGeom>
            <a:noFill/>
          </p:spPr>
          <p:txBody>
            <a:bodyPr wrap="none" rtlCol="0">
              <a:spAutoFit/>
            </a:bodyPr>
            <a:lstStyle/>
            <a:p>
              <a:pPr algn="ctr"/>
              <a:r>
                <a:rPr lang="en-AU" sz="1200" b="1" dirty="0" smtClean="0"/>
                <a:t>Sessions are</a:t>
              </a:r>
            </a:p>
            <a:p>
              <a:pPr algn="ctr"/>
              <a:r>
                <a:rPr lang="en-AU" sz="1200" b="1" dirty="0" smtClean="0"/>
                <a:t>completed</a:t>
              </a:r>
              <a:endParaRPr lang="en-AU" sz="1200" b="1" dirty="0"/>
            </a:p>
          </p:txBody>
        </p:sp>
      </p:grpSp>
      <p:grpSp>
        <p:nvGrpSpPr>
          <p:cNvPr id="6" name="Group 15"/>
          <p:cNvGrpSpPr>
            <a:grpSpLocks noChangeAspect="1"/>
          </p:cNvGrpSpPr>
          <p:nvPr/>
        </p:nvGrpSpPr>
        <p:grpSpPr>
          <a:xfrm>
            <a:off x="6532177" y="2878008"/>
            <a:ext cx="1014370" cy="786979"/>
            <a:chOff x="1277678" y="2833772"/>
            <a:chExt cx="1138469" cy="883260"/>
          </a:xfrm>
        </p:grpSpPr>
        <p:sp>
          <p:nvSpPr>
            <p:cNvPr id="17" name="Isosceles Triangle 16"/>
            <p:cNvSpPr/>
            <p:nvPr/>
          </p:nvSpPr>
          <p:spPr bwMode="auto">
            <a:xfrm rot="10800000">
              <a:off x="1738899" y="3356992"/>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8" name="TextBox 17"/>
            <p:cNvSpPr txBox="1"/>
            <p:nvPr/>
          </p:nvSpPr>
          <p:spPr>
            <a:xfrm>
              <a:off x="1277678" y="2833772"/>
              <a:ext cx="1138469" cy="518146"/>
            </a:xfrm>
            <a:prstGeom prst="rect">
              <a:avLst/>
            </a:prstGeom>
            <a:noFill/>
          </p:spPr>
          <p:txBody>
            <a:bodyPr wrap="none" rtlCol="0">
              <a:spAutoFit/>
            </a:bodyPr>
            <a:lstStyle/>
            <a:p>
              <a:pPr algn="ctr"/>
              <a:r>
                <a:rPr lang="en-AU" sz="1200" b="1" dirty="0" smtClean="0"/>
                <a:t>Results are</a:t>
              </a:r>
            </a:p>
            <a:p>
              <a:pPr algn="ctr"/>
              <a:r>
                <a:rPr lang="en-AU" sz="1200" b="1" dirty="0" smtClean="0"/>
                <a:t>validated</a:t>
              </a:r>
              <a:endParaRPr lang="en-AU" sz="1200" b="1" dirty="0"/>
            </a:p>
          </p:txBody>
        </p:sp>
      </p:grpSp>
      <p:grpSp>
        <p:nvGrpSpPr>
          <p:cNvPr id="7" name="Group 18"/>
          <p:cNvGrpSpPr>
            <a:grpSpLocks noChangeAspect="1"/>
          </p:cNvGrpSpPr>
          <p:nvPr/>
        </p:nvGrpSpPr>
        <p:grpSpPr>
          <a:xfrm>
            <a:off x="7656976" y="2878008"/>
            <a:ext cx="1014370" cy="786979"/>
            <a:chOff x="1277680" y="2833772"/>
            <a:chExt cx="1138470" cy="883260"/>
          </a:xfrm>
        </p:grpSpPr>
        <p:sp>
          <p:nvSpPr>
            <p:cNvPr id="20" name="Isosceles Triangle 19"/>
            <p:cNvSpPr/>
            <p:nvPr/>
          </p:nvSpPr>
          <p:spPr bwMode="auto">
            <a:xfrm rot="10800000">
              <a:off x="1738899" y="3356992"/>
              <a:ext cx="216024" cy="360040"/>
            </a:xfrm>
            <a:prstGeom prst="triangle">
              <a:avLst/>
            </a:prstGeom>
            <a:solidFill>
              <a:srgbClr val="FF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1" name="TextBox 20"/>
            <p:cNvSpPr txBox="1"/>
            <p:nvPr/>
          </p:nvSpPr>
          <p:spPr>
            <a:xfrm>
              <a:off x="1277680" y="2833772"/>
              <a:ext cx="1138470" cy="518146"/>
            </a:xfrm>
            <a:prstGeom prst="rect">
              <a:avLst/>
            </a:prstGeom>
            <a:noFill/>
          </p:spPr>
          <p:txBody>
            <a:bodyPr wrap="none" rtlCol="0">
              <a:spAutoFit/>
            </a:bodyPr>
            <a:lstStyle/>
            <a:p>
              <a:pPr algn="ctr"/>
              <a:r>
                <a:rPr lang="en-AU" sz="1200" b="1" dirty="0" smtClean="0">
                  <a:solidFill>
                    <a:srgbClr val="FF0000"/>
                  </a:solidFill>
                </a:rPr>
                <a:t>Results are</a:t>
              </a:r>
            </a:p>
            <a:p>
              <a:pPr algn="ctr"/>
              <a:r>
                <a:rPr lang="en-AU" sz="1200" b="1" dirty="0" smtClean="0">
                  <a:solidFill>
                    <a:srgbClr val="FF0000"/>
                  </a:solidFill>
                </a:rPr>
                <a:t>out of date</a:t>
              </a:r>
              <a:endParaRPr lang="en-AU" sz="1200" b="1" dirty="0">
                <a:solidFill>
                  <a:srgbClr val="FF0000"/>
                </a:solidFill>
              </a:endParaRPr>
            </a:p>
          </p:txBody>
        </p:sp>
      </p:grpSp>
      <p:grpSp>
        <p:nvGrpSpPr>
          <p:cNvPr id="10" name="Group 21"/>
          <p:cNvGrpSpPr>
            <a:grpSpLocks noChangeAspect="1"/>
          </p:cNvGrpSpPr>
          <p:nvPr/>
        </p:nvGrpSpPr>
        <p:grpSpPr>
          <a:xfrm>
            <a:off x="458466" y="4335779"/>
            <a:ext cx="1061508" cy="1336457"/>
            <a:chOff x="2384497" y="4221088"/>
            <a:chExt cx="1191375" cy="1499962"/>
          </a:xfrm>
        </p:grpSpPr>
        <p:sp>
          <p:nvSpPr>
            <p:cNvPr id="23" name="Isosceles Triangle 22"/>
            <p:cNvSpPr/>
            <p:nvPr/>
          </p:nvSpPr>
          <p:spPr bwMode="auto">
            <a:xfrm>
              <a:off x="2872171" y="4221088"/>
              <a:ext cx="216024" cy="360040"/>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4" name="TextBox 23"/>
            <p:cNvSpPr txBox="1"/>
            <p:nvPr/>
          </p:nvSpPr>
          <p:spPr>
            <a:xfrm>
              <a:off x="2384497" y="4581128"/>
              <a:ext cx="1191375" cy="1139922"/>
            </a:xfrm>
            <a:prstGeom prst="rect">
              <a:avLst/>
            </a:prstGeom>
            <a:noFill/>
          </p:spPr>
          <p:txBody>
            <a:bodyPr wrap="none" rtlCol="0">
              <a:spAutoFit/>
            </a:bodyPr>
            <a:lstStyle/>
            <a:p>
              <a:pPr algn="ctr"/>
              <a:r>
                <a:rPr lang="en-AU" sz="1200" b="1" dirty="0" smtClean="0"/>
                <a:t>Configure</a:t>
              </a:r>
            </a:p>
            <a:p>
              <a:pPr algn="ctr"/>
              <a:r>
                <a:rPr lang="en-AU" sz="1200" b="1" dirty="0" smtClean="0"/>
                <a:t>assessment</a:t>
              </a:r>
            </a:p>
            <a:p>
              <a:pPr algn="ctr"/>
              <a:r>
                <a:rPr lang="en-AU" sz="1200" b="1" dirty="0" smtClean="0"/>
                <a:t>design and</a:t>
              </a:r>
            </a:p>
            <a:p>
              <a:pPr algn="ctr"/>
              <a:r>
                <a:rPr lang="en-AU" sz="1200" b="1" dirty="0" smtClean="0"/>
                <a:t>begin</a:t>
              </a:r>
            </a:p>
            <a:p>
              <a:pPr algn="ctr"/>
              <a:r>
                <a:rPr lang="en-AU" sz="1200" b="1" dirty="0" smtClean="0"/>
                <a:t>assessment</a:t>
              </a:r>
            </a:p>
          </p:txBody>
        </p:sp>
      </p:grpSp>
      <p:grpSp>
        <p:nvGrpSpPr>
          <p:cNvPr id="11" name="Group 24"/>
          <p:cNvGrpSpPr>
            <a:grpSpLocks noChangeAspect="1"/>
          </p:cNvGrpSpPr>
          <p:nvPr/>
        </p:nvGrpSpPr>
        <p:grpSpPr>
          <a:xfrm>
            <a:off x="1845460" y="4335778"/>
            <a:ext cx="1247582" cy="1336455"/>
            <a:chOff x="2280077" y="4221088"/>
            <a:chExt cx="1400214" cy="1499960"/>
          </a:xfrm>
        </p:grpSpPr>
        <p:sp>
          <p:nvSpPr>
            <p:cNvPr id="26" name="Isosceles Triangle 25"/>
            <p:cNvSpPr/>
            <p:nvPr/>
          </p:nvSpPr>
          <p:spPr bwMode="auto">
            <a:xfrm>
              <a:off x="2872171" y="4221088"/>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7" name="TextBox 26"/>
            <p:cNvSpPr txBox="1"/>
            <p:nvPr/>
          </p:nvSpPr>
          <p:spPr>
            <a:xfrm>
              <a:off x="2280077" y="4581127"/>
              <a:ext cx="1400214" cy="1139921"/>
            </a:xfrm>
            <a:prstGeom prst="rect">
              <a:avLst/>
            </a:prstGeom>
            <a:noFill/>
          </p:spPr>
          <p:txBody>
            <a:bodyPr wrap="none" rtlCol="0">
              <a:spAutoFit/>
            </a:bodyPr>
            <a:lstStyle/>
            <a:p>
              <a:pPr algn="ctr"/>
              <a:r>
                <a:rPr lang="en-AU" sz="1200" b="1" dirty="0" smtClean="0"/>
                <a:t>Assessment</a:t>
              </a:r>
            </a:p>
            <a:p>
              <a:pPr algn="ctr"/>
              <a:r>
                <a:rPr lang="en-AU" sz="1200" b="1" dirty="0" smtClean="0"/>
                <a:t>Organisation</a:t>
              </a:r>
            </a:p>
            <a:p>
              <a:pPr algn="ctr"/>
              <a:r>
                <a:rPr lang="en-AU" sz="1200" b="1" dirty="0" smtClean="0"/>
                <a:t>Wide with ALL</a:t>
              </a:r>
            </a:p>
            <a:p>
              <a:pPr algn="ctr"/>
              <a:r>
                <a:rPr lang="en-AU" sz="1200" b="1" dirty="0" smtClean="0"/>
                <a:t>Employees is </a:t>
              </a:r>
            </a:p>
            <a:p>
              <a:pPr algn="ctr"/>
              <a:r>
                <a:rPr lang="en-AU" sz="1200" b="1" dirty="0" smtClean="0"/>
                <a:t>complete</a:t>
              </a:r>
              <a:endParaRPr lang="en-AU" sz="1200" b="1" dirty="0"/>
            </a:p>
          </p:txBody>
        </p:sp>
      </p:grpSp>
      <p:grpSp>
        <p:nvGrpSpPr>
          <p:cNvPr id="12" name="Group 27"/>
          <p:cNvGrpSpPr>
            <a:grpSpLocks noChangeAspect="1"/>
          </p:cNvGrpSpPr>
          <p:nvPr/>
        </p:nvGrpSpPr>
        <p:grpSpPr>
          <a:xfrm>
            <a:off x="7502486" y="4312295"/>
            <a:ext cx="1345784" cy="1151789"/>
            <a:chOff x="2237557" y="4221088"/>
            <a:chExt cx="1510430" cy="1292701"/>
          </a:xfrm>
        </p:grpSpPr>
        <p:sp>
          <p:nvSpPr>
            <p:cNvPr id="29" name="Isosceles Triangle 28"/>
            <p:cNvSpPr/>
            <p:nvPr/>
          </p:nvSpPr>
          <p:spPr bwMode="auto">
            <a:xfrm>
              <a:off x="2872171" y="4221088"/>
              <a:ext cx="216024" cy="360040"/>
            </a:xfrm>
            <a:prstGeom prst="triangle">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0" name="TextBox 29"/>
            <p:cNvSpPr txBox="1"/>
            <p:nvPr/>
          </p:nvSpPr>
          <p:spPr>
            <a:xfrm>
              <a:off x="2237557" y="4581126"/>
              <a:ext cx="1510430" cy="932663"/>
            </a:xfrm>
            <a:prstGeom prst="rect">
              <a:avLst/>
            </a:prstGeom>
            <a:noFill/>
          </p:spPr>
          <p:txBody>
            <a:bodyPr wrap="square" rtlCol="0">
              <a:spAutoFit/>
            </a:bodyPr>
            <a:lstStyle/>
            <a:p>
              <a:pPr algn="ctr"/>
              <a:r>
                <a:rPr lang="en-AU" sz="1200" b="1" dirty="0" smtClean="0"/>
                <a:t>Automatic</a:t>
              </a:r>
            </a:p>
            <a:p>
              <a:pPr algn="ctr"/>
              <a:r>
                <a:rPr lang="en-AU" sz="1200" b="1" dirty="0" smtClean="0"/>
                <a:t>refresh of </a:t>
              </a:r>
            </a:p>
            <a:p>
              <a:pPr algn="ctr"/>
              <a:r>
                <a:rPr lang="en-AU" sz="1200" b="1" dirty="0" smtClean="0"/>
                <a:t>Information triggered</a:t>
              </a:r>
            </a:p>
          </p:txBody>
        </p:sp>
      </p:grpSp>
      <p:grpSp>
        <p:nvGrpSpPr>
          <p:cNvPr id="13" name="Group 30"/>
          <p:cNvGrpSpPr>
            <a:grpSpLocks noChangeAspect="1"/>
          </p:cNvGrpSpPr>
          <p:nvPr/>
        </p:nvGrpSpPr>
        <p:grpSpPr>
          <a:xfrm>
            <a:off x="4821303" y="2865848"/>
            <a:ext cx="1014370" cy="799139"/>
            <a:chOff x="1277676" y="2820124"/>
            <a:chExt cx="1138470" cy="896908"/>
          </a:xfrm>
        </p:grpSpPr>
        <p:sp>
          <p:nvSpPr>
            <p:cNvPr id="32" name="Isosceles Triangle 31"/>
            <p:cNvSpPr/>
            <p:nvPr/>
          </p:nvSpPr>
          <p:spPr bwMode="auto">
            <a:xfrm rot="10800000">
              <a:off x="1738899" y="3356992"/>
              <a:ext cx="216024" cy="360040"/>
            </a:xfrm>
            <a:prstGeom prst="triangle">
              <a:avLst/>
            </a:prstGeom>
            <a:solidFill>
              <a:srgbClr val="FFFF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1277676" y="2820124"/>
              <a:ext cx="1138470" cy="518146"/>
            </a:xfrm>
            <a:prstGeom prst="rect">
              <a:avLst/>
            </a:prstGeom>
            <a:noFill/>
          </p:spPr>
          <p:txBody>
            <a:bodyPr wrap="none" rtlCol="0">
              <a:spAutoFit/>
            </a:bodyPr>
            <a:lstStyle/>
            <a:p>
              <a:pPr algn="ctr"/>
              <a:r>
                <a:rPr lang="en-AU" sz="1200" b="1" dirty="0" smtClean="0"/>
                <a:t>Results are </a:t>
              </a:r>
            </a:p>
            <a:p>
              <a:pPr algn="ctr"/>
              <a:r>
                <a:rPr lang="en-AU" sz="1200" b="1" dirty="0" smtClean="0"/>
                <a:t>analysed</a:t>
              </a:r>
              <a:endParaRPr lang="en-AU" sz="1200" b="1" dirty="0"/>
            </a:p>
          </p:txBody>
        </p:sp>
      </p:grpSp>
      <p:sp>
        <p:nvSpPr>
          <p:cNvPr id="40" name="Rectangle 39"/>
          <p:cNvSpPr/>
          <p:nvPr/>
        </p:nvSpPr>
        <p:spPr>
          <a:xfrm>
            <a:off x="250665" y="2244404"/>
            <a:ext cx="8518513" cy="483484"/>
          </a:xfrm>
          <a:prstGeom prst="rect">
            <a:avLst/>
          </a:prstGeom>
          <a:solidFill>
            <a:schemeClr val="bg1">
              <a:lumMod val="50000"/>
            </a:schemeClr>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Workshop Approach</a:t>
            </a:r>
            <a:endParaRPr lang="en-AU" b="1" dirty="0"/>
          </a:p>
        </p:txBody>
      </p:sp>
      <p:sp>
        <p:nvSpPr>
          <p:cNvPr id="41" name="Rectangle 40"/>
          <p:cNvSpPr/>
          <p:nvPr/>
        </p:nvSpPr>
        <p:spPr>
          <a:xfrm>
            <a:off x="250665" y="5698631"/>
            <a:ext cx="8518513" cy="483484"/>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Specializ Approach</a:t>
            </a:r>
            <a:endParaRPr lang="en-AU" b="1" dirty="0"/>
          </a:p>
        </p:txBody>
      </p:sp>
      <p:grpSp>
        <p:nvGrpSpPr>
          <p:cNvPr id="16" name="Group 42"/>
          <p:cNvGrpSpPr/>
          <p:nvPr/>
        </p:nvGrpSpPr>
        <p:grpSpPr>
          <a:xfrm>
            <a:off x="5004523" y="4656183"/>
            <a:ext cx="961369" cy="819613"/>
            <a:chOff x="7560860" y="1390246"/>
            <a:chExt cx="1320541" cy="1125823"/>
          </a:xfrm>
        </p:grpSpPr>
        <p:sp>
          <p:nvSpPr>
            <p:cNvPr id="44" name="Rectangle 43"/>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5" name="TextBox 44"/>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46" name="TextBox 45"/>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47" name="Straight Connector 46"/>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8" name="Rectangle 37"/>
          <p:cNvSpPr/>
          <p:nvPr/>
        </p:nvSpPr>
        <p:spPr>
          <a:xfrm>
            <a:off x="242370" y="2249893"/>
            <a:ext cx="8522208" cy="1707615"/>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243930" y="3965124"/>
            <a:ext cx="8522208" cy="2209616"/>
          </a:xfrm>
          <a:prstGeom prst="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5"/>
          <p:cNvGraphicFramePr>
            <a:graphicFrameLocks noChangeAspect="1"/>
          </p:cNvGraphicFramePr>
          <p:nvPr>
            <p:extLst>
              <p:ext uri="{D42A27DB-BD31-4B8C-83A1-F6EECF244321}">
                <p14:modId xmlns:p14="http://schemas.microsoft.com/office/powerpoint/2010/main" val="3209206533"/>
              </p:ext>
            </p:extLst>
          </p:nvPr>
        </p:nvGraphicFramePr>
        <p:xfrm>
          <a:off x="991550" y="3723494"/>
          <a:ext cx="7530835" cy="478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72469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 of Workshop and Specializ approache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2373338987"/>
              </p:ext>
            </p:extLst>
          </p:nvPr>
        </p:nvGraphicFramePr>
        <p:xfrm>
          <a:off x="284319" y="945692"/>
          <a:ext cx="5372732" cy="3596772"/>
        </p:xfrm>
        <a:graphic>
          <a:graphicData uri="http://schemas.openxmlformats.org/drawingml/2006/table">
            <a:tbl>
              <a:tblPr firstRow="1" bandRow="1">
                <a:tableStyleId>{5A111915-BE36-4E01-A7E5-04B1672EAD32}</a:tableStyleId>
              </a:tblPr>
              <a:tblGrid>
                <a:gridCol w="3573770"/>
                <a:gridCol w="899481"/>
                <a:gridCol w="899481"/>
              </a:tblGrid>
              <a:tr h="415012">
                <a:tc>
                  <a:txBody>
                    <a:bodyPr/>
                    <a:lstStyle/>
                    <a:p>
                      <a:pPr algn="ctr"/>
                      <a:r>
                        <a:rPr lang="en-AU" sz="1100" b="1" dirty="0" smtClean="0"/>
                        <a:t>Activity</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Specializ</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Workshop</a:t>
                      </a:r>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r>
              <a:tr h="318176">
                <a:tc>
                  <a:txBody>
                    <a:bodyPr/>
                    <a:lstStyle/>
                    <a:p>
                      <a:r>
                        <a:rPr lang="en-AU" sz="1100" dirty="0" smtClean="0"/>
                        <a:t>Assessment company wide</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ick and easy</a:t>
                      </a:r>
                      <a:r>
                        <a:rPr lang="en-AU" sz="1100" baseline="0" dirty="0" smtClean="0"/>
                        <a:t> to complete</a:t>
                      </a:r>
                      <a:endParaRPr lang="en-AU" sz="1100" dirty="0" smtClean="0"/>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nonymous technique that avoids groupthink</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antifiable results</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Guaranteed consensu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baseline="0" dirty="0" smtClean="0"/>
                        <a:t>Scheduling participant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Uses populations of</a:t>
                      </a:r>
                      <a:r>
                        <a:rPr lang="en-AU" sz="1100" baseline="0" dirty="0" smtClean="0"/>
                        <a:t> employe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Common framework for respons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llows</a:t>
                      </a:r>
                      <a:r>
                        <a:rPr lang="en-AU" sz="1100" baseline="0" dirty="0" smtClean="0"/>
                        <a:t> users to respond to each other’s input iteratively</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Participant buy in and sign off</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8" name="Group 27"/>
          <p:cNvGrpSpPr/>
          <p:nvPr/>
        </p:nvGrpSpPr>
        <p:grpSpPr>
          <a:xfrm>
            <a:off x="4149439" y="1314189"/>
            <a:ext cx="1194932" cy="3365362"/>
            <a:chOff x="4685343" y="1978924"/>
            <a:chExt cx="1316404" cy="3707471"/>
          </a:xfrm>
        </p:grpSpPr>
        <p:grpSp>
          <p:nvGrpSpPr>
            <p:cNvPr id="16" name="Group 15"/>
            <p:cNvGrpSpPr/>
            <p:nvPr/>
          </p:nvGrpSpPr>
          <p:grpSpPr>
            <a:xfrm>
              <a:off x="4685343" y="1978924"/>
              <a:ext cx="390876" cy="3707471"/>
              <a:chOff x="4753583" y="2101756"/>
              <a:chExt cx="390876" cy="3707471"/>
            </a:xfrm>
          </p:grpSpPr>
          <p:sp>
            <p:nvSpPr>
              <p:cNvPr id="5" name="TextBox 4"/>
              <p:cNvSpPr txBox="1"/>
              <p:nvPr/>
            </p:nvSpPr>
            <p:spPr>
              <a:xfrm>
                <a:off x="4753583" y="2101756"/>
                <a:ext cx="390876"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6" name="TextBox 5"/>
              <p:cNvSpPr txBox="1"/>
              <p:nvPr/>
            </p:nvSpPr>
            <p:spPr>
              <a:xfrm>
                <a:off x="4753583" y="2445228"/>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7" name="TextBox 6"/>
              <p:cNvSpPr txBox="1"/>
              <p:nvPr/>
            </p:nvSpPr>
            <p:spPr>
              <a:xfrm>
                <a:off x="4753583" y="280007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8" name="TextBox 7"/>
              <p:cNvSpPr txBox="1"/>
              <p:nvPr/>
            </p:nvSpPr>
            <p:spPr>
              <a:xfrm>
                <a:off x="4753583" y="315492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9" name="TextBox 8"/>
              <p:cNvSpPr txBox="1"/>
              <p:nvPr/>
            </p:nvSpPr>
            <p:spPr>
              <a:xfrm>
                <a:off x="4753583" y="3509773"/>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0" name="TextBox 9"/>
              <p:cNvSpPr txBox="1"/>
              <p:nvPr/>
            </p:nvSpPr>
            <p:spPr>
              <a:xfrm>
                <a:off x="4753583" y="3850972"/>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1" name="TextBox 10"/>
              <p:cNvSpPr txBox="1"/>
              <p:nvPr/>
            </p:nvSpPr>
            <p:spPr>
              <a:xfrm>
                <a:off x="4753583" y="42058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2" name="TextBox 11"/>
              <p:cNvSpPr txBox="1"/>
              <p:nvPr/>
            </p:nvSpPr>
            <p:spPr>
              <a:xfrm>
                <a:off x="4753583" y="45470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4" name="TextBox 13"/>
              <p:cNvSpPr txBox="1"/>
              <p:nvPr/>
            </p:nvSpPr>
            <p:spPr>
              <a:xfrm>
                <a:off x="4753583" y="489959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5" name="TextBox 14"/>
              <p:cNvSpPr txBox="1"/>
              <p:nvPr/>
            </p:nvSpPr>
            <p:spPr>
              <a:xfrm>
                <a:off x="4753583" y="525444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grpSp>
        <p:grpSp>
          <p:nvGrpSpPr>
            <p:cNvPr id="27" name="Group 26"/>
            <p:cNvGrpSpPr/>
            <p:nvPr/>
          </p:nvGrpSpPr>
          <p:grpSpPr>
            <a:xfrm>
              <a:off x="5663810" y="2023066"/>
              <a:ext cx="337937" cy="3503005"/>
              <a:chOff x="5663810" y="2023066"/>
              <a:chExt cx="337937" cy="3503005"/>
            </a:xfrm>
          </p:grpSpPr>
          <p:sp>
            <p:nvSpPr>
              <p:cNvPr id="17" name="Multiply 16"/>
              <p:cNvSpPr/>
              <p:nvPr/>
            </p:nvSpPr>
            <p:spPr>
              <a:xfrm>
                <a:off x="5663810" y="20230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Multiply 17"/>
              <p:cNvSpPr/>
              <p:nvPr/>
            </p:nvSpPr>
            <p:spPr>
              <a:xfrm>
                <a:off x="5663810" y="23642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9" name="Multiply 18"/>
              <p:cNvSpPr/>
              <p:nvPr/>
            </p:nvSpPr>
            <p:spPr>
              <a:xfrm>
                <a:off x="5663810" y="2719114"/>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Multiply 19"/>
              <p:cNvSpPr/>
              <p:nvPr/>
            </p:nvSpPr>
            <p:spPr>
              <a:xfrm>
                <a:off x="5663810" y="30739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 name="Multiply 20"/>
              <p:cNvSpPr/>
              <p:nvPr/>
            </p:nvSpPr>
            <p:spPr>
              <a:xfrm>
                <a:off x="5663810" y="34151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 name="Multiply 21"/>
              <p:cNvSpPr/>
              <p:nvPr/>
            </p:nvSpPr>
            <p:spPr>
              <a:xfrm>
                <a:off x="5663810" y="3770010"/>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3" name="Multiply 22"/>
              <p:cNvSpPr/>
              <p:nvPr/>
            </p:nvSpPr>
            <p:spPr>
              <a:xfrm>
                <a:off x="5663810" y="411964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 name="Multiply 23"/>
              <p:cNvSpPr/>
              <p:nvPr/>
            </p:nvSpPr>
            <p:spPr>
              <a:xfrm>
                <a:off x="5663810" y="447126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5" name="Multiply 24"/>
              <p:cNvSpPr/>
              <p:nvPr/>
            </p:nvSpPr>
            <p:spPr>
              <a:xfrm>
                <a:off x="5663810" y="482383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6" name="Multiply 25"/>
              <p:cNvSpPr/>
              <p:nvPr/>
            </p:nvSpPr>
            <p:spPr>
              <a:xfrm>
                <a:off x="5663810" y="517122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sp>
        <p:nvSpPr>
          <p:cNvPr id="33" name="Text Placeholder 2"/>
          <p:cNvSpPr>
            <a:spLocks noGrp="1"/>
          </p:cNvSpPr>
          <p:nvPr>
            <p:ph type="body" sz="quarter" idx="12"/>
          </p:nvPr>
        </p:nvSpPr>
        <p:spPr>
          <a:xfrm>
            <a:off x="270682" y="4712116"/>
            <a:ext cx="8632020" cy="1561684"/>
          </a:xfr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ct val="0"/>
              </a:spcBef>
              <a:spcAft>
                <a:spcPct val="0"/>
              </a:spcAft>
              <a:buFont typeface="Wingdings" pitchFamily="2" charset="2"/>
              <a:buChar char="ü"/>
            </a:pPr>
            <a:r>
              <a:rPr lang="en-AU" sz="1400" b="1" dirty="0">
                <a:solidFill>
                  <a:schemeClr val="lt1"/>
                </a:solidFill>
              </a:rPr>
              <a:t>Specializ is based on a consensus building algorithm to ensure that the minimum required levels of consensus are met efficiently, effectively and with as little disruption to participants as possible. </a:t>
            </a:r>
          </a:p>
          <a:p>
            <a:pPr>
              <a:spcBef>
                <a:spcPct val="0"/>
              </a:spcBef>
              <a:spcAft>
                <a:spcPct val="0"/>
              </a:spcAft>
              <a:buFont typeface="Wingdings" pitchFamily="2" charset="2"/>
              <a:buChar char="ü"/>
            </a:pPr>
            <a:r>
              <a:rPr lang="en-AU" sz="1400" b="1" dirty="0">
                <a:solidFill>
                  <a:schemeClr val="lt1"/>
                </a:solidFill>
              </a:rPr>
              <a:t>Organisations have saved thousands of dollars using Specializ to determine risk mitigation budgets. </a:t>
            </a:r>
          </a:p>
          <a:p>
            <a:pPr>
              <a:spcBef>
                <a:spcPct val="0"/>
              </a:spcBef>
              <a:spcAft>
                <a:spcPct val="0"/>
              </a:spcAft>
              <a:buFont typeface="Wingdings" pitchFamily="2" charset="2"/>
              <a:buChar char="ü"/>
            </a:pPr>
            <a:r>
              <a:rPr lang="en-AU" sz="1400" b="1" dirty="0">
                <a:solidFill>
                  <a:schemeClr val="lt1"/>
                </a:solidFill>
              </a:rPr>
              <a:t>Stakeholder buy-in and agreement is reached before any </a:t>
            </a:r>
            <a:r>
              <a:rPr lang="en-AU" sz="1400" b="1" dirty="0" smtClean="0">
                <a:solidFill>
                  <a:schemeClr val="lt1"/>
                </a:solidFill>
              </a:rPr>
              <a:t>assessment </a:t>
            </a:r>
            <a:r>
              <a:rPr lang="en-AU" sz="1400" b="1" dirty="0">
                <a:solidFill>
                  <a:schemeClr val="lt1"/>
                </a:solidFill>
              </a:rPr>
              <a:t>is closed</a:t>
            </a:r>
          </a:p>
        </p:txBody>
      </p:sp>
      <p:graphicFrame>
        <p:nvGraphicFramePr>
          <p:cNvPr id="3" name="Table 2"/>
          <p:cNvGraphicFramePr>
            <a:graphicFrameLocks noGrp="1"/>
          </p:cNvGraphicFramePr>
          <p:nvPr>
            <p:extLst>
              <p:ext uri="{D42A27DB-BD31-4B8C-83A1-F6EECF244321}">
                <p14:modId xmlns:p14="http://schemas.microsoft.com/office/powerpoint/2010/main" val="3591628143"/>
              </p:ext>
            </p:extLst>
          </p:nvPr>
        </p:nvGraphicFramePr>
        <p:xfrm>
          <a:off x="5829300" y="948643"/>
          <a:ext cx="3060700" cy="3603543"/>
        </p:xfrm>
        <a:graphic>
          <a:graphicData uri="http://schemas.openxmlformats.org/drawingml/2006/table">
            <a:tbl>
              <a:tblPr firstRow="1" bandRow="1">
                <a:tableStyleId>{58DD5831-5125-4D1D-A9A5-347843CA56AB}</a:tableStyleId>
              </a:tblPr>
              <a:tblGrid>
                <a:gridCol w="3060700"/>
              </a:tblGrid>
              <a:tr h="194522">
                <a:tc>
                  <a:txBody>
                    <a:bodyPr/>
                    <a:lstStyle/>
                    <a:p>
                      <a:pPr algn="ctr"/>
                      <a:r>
                        <a:rPr lang="en-AU" sz="1610" dirty="0" smtClean="0">
                          <a:solidFill>
                            <a:schemeClr val="bg1"/>
                          </a:solidFill>
                        </a:rPr>
                        <a:t>Specializ</a:t>
                      </a:r>
                      <a:r>
                        <a:rPr lang="en-AU" sz="1610" baseline="0" dirty="0" smtClean="0">
                          <a:solidFill>
                            <a:schemeClr val="bg1"/>
                          </a:solidFill>
                        </a:rPr>
                        <a:t> Benefits</a:t>
                      </a:r>
                      <a:endParaRPr lang="en-AU" sz="1610" dirty="0">
                        <a:solidFill>
                          <a:schemeClr val="bg1"/>
                        </a:solidFil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solidFill>
                  </a:tcPr>
                </a:tc>
              </a:tr>
              <a:tr h="499441">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Is a structured quantitative solution to enterprise risk assessmen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Provides rich, contextual health and safety attribute data quicker and with less effor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Uses populations of users, not samples, to give your organisation the most accurate picture of your risk landscape</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Quantifies consensus per stream of risk</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Takes a bottom up approach allowing theoretically infinite number of risk registers to be created and maintained</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1751324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Requirements gathering in Specializ</a:t>
            </a:r>
            <a:endParaRPr lang="en-AU" dirty="0"/>
          </a:p>
        </p:txBody>
      </p:sp>
      <p:sp>
        <p:nvSpPr>
          <p:cNvPr id="3" name="Text Placeholder 2"/>
          <p:cNvSpPr>
            <a:spLocks noGrp="1"/>
          </p:cNvSpPr>
          <p:nvPr>
            <p:ph type="body" sz="quarter" idx="12"/>
          </p:nvPr>
        </p:nvSpPr>
        <p:spPr/>
        <p:txBody>
          <a:bodyPr/>
          <a:lstStyle/>
          <a:p>
            <a:pPr marL="0" indent="0"/>
            <a:r>
              <a:rPr lang="en-AU" dirty="0" smtClean="0"/>
              <a:t>Requirements gathering and validation are typically two distinct tasks that are both very difficult to get right the first time. Even the top consulting firms in the world have line item contingencies up to 500% when requirements definition and validation are involved.</a:t>
            </a:r>
          </a:p>
          <a:p>
            <a:pPr marL="0" indent="0"/>
            <a:r>
              <a:rPr lang="en-AU" dirty="0" smtClean="0"/>
              <a:t>The process is difficult for one main reason, it is cost prohibitive to include all employees with stakeholders with pertinent information – at least it was until Specializ came along.</a:t>
            </a:r>
          </a:p>
          <a:p>
            <a:pPr marL="0" indent="0"/>
            <a:r>
              <a:rPr lang="en-AU" dirty="0" smtClean="0"/>
              <a:t>Specializ combines the requirements definition and validation phases into one process that elicits requirements, per area, from a population of interested stakeholders. Specializ uses an information elicitation process that allows participants to see and respond to each other anonymously in an iterative process until consensus is reached.</a:t>
            </a:r>
            <a:endParaRPr lang="en-AU" dirty="0"/>
          </a:p>
        </p:txBody>
      </p:sp>
    </p:spTree>
    <p:extLst>
      <p:ext uri="{BB962C8B-B14F-4D97-AF65-F5344CB8AC3E}">
        <p14:creationId xmlns:p14="http://schemas.microsoft.com/office/powerpoint/2010/main" val="24276433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roject risk</a:t>
            </a:r>
            <a:endParaRPr lang="en-AU" dirty="0"/>
          </a:p>
        </p:txBody>
      </p:sp>
      <p:sp>
        <p:nvSpPr>
          <p:cNvPr id="3" name="Text Placeholder 2"/>
          <p:cNvSpPr>
            <a:spLocks noGrp="1"/>
          </p:cNvSpPr>
          <p:nvPr>
            <p:ph type="body" sz="quarter" idx="12"/>
          </p:nvPr>
        </p:nvSpPr>
        <p:spPr/>
        <p:txBody>
          <a:bodyPr/>
          <a:lstStyle/>
          <a:p>
            <a:pPr marL="0" indent="0"/>
            <a:r>
              <a:rPr lang="en-AU" dirty="0" smtClean="0"/>
              <a:t>Project risk may be assessed at the requirement and project levels by the stakeholders with the most knowledge pertaining to the risks underlying the project. Just like the requirements definition process, risk assessment arrives at consensus for each risk as well as any number of associated attributes such as impact and likelihood.</a:t>
            </a:r>
          </a:p>
          <a:p>
            <a:pPr marL="0" indent="0"/>
            <a:r>
              <a:rPr lang="en-AU" dirty="0"/>
              <a:t>Specializ gives stakeholders the ability to iteratively rate the risks in one or more areas in which they have expertise to gain a complete picture of risk from all appropriate stakeholders and gain consensus on those risks. </a:t>
            </a:r>
          </a:p>
          <a:p>
            <a:pPr marL="0" indent="0"/>
            <a:endParaRPr lang="en-AU" dirty="0" smtClean="0"/>
          </a:p>
        </p:txBody>
      </p:sp>
    </p:spTree>
    <p:extLst>
      <p:ext uri="{BB962C8B-B14F-4D97-AF65-F5344CB8AC3E}">
        <p14:creationId xmlns:p14="http://schemas.microsoft.com/office/powerpoint/2010/main" val="12848605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roject assurance on requirements</a:t>
            </a:r>
            <a:endParaRPr lang="en-AU" dirty="0"/>
          </a:p>
        </p:txBody>
      </p:sp>
      <p:sp>
        <p:nvSpPr>
          <p:cNvPr id="3" name="Text Placeholder 2"/>
          <p:cNvSpPr>
            <a:spLocks noGrp="1"/>
          </p:cNvSpPr>
          <p:nvPr>
            <p:ph type="body" sz="quarter" idx="12"/>
          </p:nvPr>
        </p:nvSpPr>
        <p:spPr/>
        <p:txBody>
          <a:bodyPr/>
          <a:lstStyle/>
          <a:p>
            <a:pPr marL="0" indent="0"/>
            <a:r>
              <a:rPr lang="en-AU" dirty="0" smtClean="0"/>
              <a:t>Specializ assists in project assurance by validating that the requirements have been met and are signed off by the appropriate stakeholders. This process may be initiated at specific intervals automatically by Specializ.</a:t>
            </a:r>
          </a:p>
          <a:p>
            <a:pPr marL="0" indent="0"/>
            <a:r>
              <a:rPr lang="en-AU" dirty="0" smtClean="0"/>
              <a:t>Specializ can periodically obtain project assurance to the exact group of stakeholders that previously developed and agreed upon the requirements by evaluating the current’s project solution’s adherence to the requirements.</a:t>
            </a:r>
          </a:p>
        </p:txBody>
      </p:sp>
    </p:spTree>
    <p:extLst>
      <p:ext uri="{BB962C8B-B14F-4D97-AF65-F5344CB8AC3E}">
        <p14:creationId xmlns:p14="http://schemas.microsoft.com/office/powerpoint/2010/main" val="22775920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genda</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1913526988"/>
              </p:ext>
            </p:extLst>
          </p:nvPr>
        </p:nvGraphicFramePr>
        <p:xfrm>
          <a:off x="2201334" y="3302001"/>
          <a:ext cx="4690533" cy="2666150"/>
        </p:xfrm>
        <a:graphic>
          <a:graphicData uri="http://schemas.openxmlformats.org/drawingml/2006/table">
            <a:tbl>
              <a:tblPr firstRow="1" bandRow="1">
                <a:tableStyleId>{58DD5831-5125-4D1D-A9A5-347843CA56AB}</a:tableStyleId>
              </a:tblPr>
              <a:tblGrid>
                <a:gridCol w="4690533"/>
              </a:tblGrid>
              <a:tr h="441110">
                <a:tc>
                  <a:txBody>
                    <a:bodyPr/>
                    <a:lstStyle/>
                    <a:p>
                      <a:r>
                        <a:rPr lang="en-AU" dirty="0" smtClean="0"/>
                        <a:t>Item</a:t>
                      </a:r>
                      <a:endParaRPr lang="en-AU" dirty="0"/>
                    </a:p>
                  </a:txBody>
                  <a:tcPr/>
                </a:tc>
              </a:tr>
              <a:tr h="370840">
                <a:tc>
                  <a:txBody>
                    <a:bodyPr/>
                    <a:lstStyle/>
                    <a:p>
                      <a:r>
                        <a:rPr lang="en-AU" dirty="0" smtClean="0"/>
                        <a:t>Case</a:t>
                      </a:r>
                      <a:r>
                        <a:rPr lang="en-AU" baseline="0" dirty="0" smtClean="0"/>
                        <a:t> study (BNH Bank)</a:t>
                      </a:r>
                      <a:endParaRPr lang="en-AU" dirty="0"/>
                    </a:p>
                  </a:txBody>
                  <a:tcPr/>
                </a:tc>
              </a:tr>
              <a:tr h="370840">
                <a:tc>
                  <a:txBody>
                    <a:bodyPr/>
                    <a:lstStyle/>
                    <a:p>
                      <a:r>
                        <a:rPr lang="en-AU" dirty="0" smtClean="0"/>
                        <a:t>Overview of the solution</a:t>
                      </a:r>
                      <a:endParaRPr lang="en-AU" dirty="0"/>
                    </a:p>
                  </a:txBody>
                  <a:tcPr/>
                </a:tc>
              </a:tr>
              <a:tr h="370840">
                <a:tc>
                  <a:txBody>
                    <a:bodyPr/>
                    <a:lstStyle/>
                    <a:p>
                      <a:r>
                        <a:rPr lang="en-AU" dirty="0" smtClean="0"/>
                        <a:t>Specializ</a:t>
                      </a:r>
                      <a:r>
                        <a:rPr lang="en-AU" baseline="0" dirty="0" smtClean="0"/>
                        <a:t> in action</a:t>
                      </a:r>
                      <a:endParaRPr lang="en-AU" dirty="0"/>
                    </a:p>
                  </a:txBody>
                  <a:tcPr/>
                </a:tc>
              </a:tr>
              <a:tr h="37084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dirty="0" smtClean="0"/>
                        <a:t>Solution</a:t>
                      </a:r>
                      <a:r>
                        <a:rPr lang="en-AU" baseline="0" dirty="0" smtClean="0"/>
                        <a:t> benefits</a:t>
                      </a:r>
                      <a:endParaRPr lang="en-AU" dirty="0" smtClean="0"/>
                    </a:p>
                  </a:txBody>
                  <a:tcPr/>
                </a:tc>
              </a:tr>
              <a:tr h="370840">
                <a:tc>
                  <a:txBody>
                    <a:bodyPr/>
                    <a:lstStyle/>
                    <a:p>
                      <a:r>
                        <a:rPr lang="en-AU" dirty="0" smtClean="0"/>
                        <a:t>Demonstration/Business Case</a:t>
                      </a:r>
                      <a:endParaRPr lang="en-AU" dirty="0"/>
                    </a:p>
                  </a:txBody>
                  <a:tcPr/>
                </a:tc>
              </a:tr>
              <a:tr h="370840">
                <a:tc>
                  <a:txBody>
                    <a:bodyPr/>
                    <a:lstStyle/>
                    <a:p>
                      <a:r>
                        <a:rPr lang="en-AU" dirty="0" smtClean="0"/>
                        <a:t>Conclusion</a:t>
                      </a:r>
                      <a:endParaRPr lang="en-AU" dirty="0"/>
                    </a:p>
                  </a:txBody>
                  <a:tcPr/>
                </a:tc>
              </a:tr>
            </a:tbl>
          </a:graphicData>
        </a:graphic>
      </p:graphicFrame>
      <p:sp>
        <p:nvSpPr>
          <p:cNvPr id="6" name="Text Placeholder 2"/>
          <p:cNvSpPr>
            <a:spLocks noGrp="1"/>
          </p:cNvSpPr>
          <p:nvPr>
            <p:ph type="body" sz="quarter" idx="12"/>
          </p:nvPr>
        </p:nvSpPr>
        <p:spPr>
          <a:xfrm>
            <a:off x="384175" y="1067432"/>
            <a:ext cx="8362950" cy="1928348"/>
          </a:xfrm>
        </p:spPr>
        <p:txBody>
          <a:bodyPr>
            <a:spAutoFit/>
          </a:bodyPr>
          <a:lstStyle/>
          <a:p>
            <a:pPr marL="0" indent="0"/>
            <a:r>
              <a:rPr lang="en-AU" dirty="0" smtClean="0"/>
              <a:t>This presentation will take 40 minutes during which we will illustrate how Specializ can help your organisation save considerable time and money in project management operations, specifically requirements gathering, stakeholder management, </a:t>
            </a:r>
          </a:p>
          <a:p>
            <a:pPr marL="0" indent="0"/>
            <a:r>
              <a:rPr lang="en-AU" dirty="0" smtClean="0"/>
              <a:t>The case study used describes the use Specializ for project management at a mining company.</a:t>
            </a:r>
            <a:endParaRPr lang="en-AU" dirty="0"/>
          </a:p>
        </p:txBody>
      </p:sp>
    </p:spTree>
    <p:extLst>
      <p:ext uri="{BB962C8B-B14F-4D97-AF65-F5344CB8AC3E}">
        <p14:creationId xmlns:p14="http://schemas.microsoft.com/office/powerpoint/2010/main" val="42626968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d-hoc project assurance</a:t>
            </a:r>
            <a:endParaRPr lang="en-AU" dirty="0"/>
          </a:p>
        </p:txBody>
      </p:sp>
      <p:sp>
        <p:nvSpPr>
          <p:cNvPr id="3" name="Text Placeholder 2"/>
          <p:cNvSpPr>
            <a:spLocks noGrp="1"/>
          </p:cNvSpPr>
          <p:nvPr>
            <p:ph type="body" sz="quarter" idx="12"/>
          </p:nvPr>
        </p:nvSpPr>
        <p:spPr/>
        <p:txBody>
          <a:bodyPr/>
          <a:lstStyle/>
          <a:p>
            <a:pPr marL="0" indent="0"/>
            <a:r>
              <a:rPr lang="en-AU" dirty="0"/>
              <a:t>Additionally, using </a:t>
            </a:r>
            <a:r>
              <a:rPr lang="en-AU" dirty="0" smtClean="0"/>
              <a:t>Specializ, other </a:t>
            </a:r>
            <a:r>
              <a:rPr lang="en-AU" dirty="0"/>
              <a:t>types of project assurance may be obtained quickly and </a:t>
            </a:r>
            <a:r>
              <a:rPr lang="en-AU" dirty="0" smtClean="0"/>
              <a:t>efficiently. The difference between using Specializ for project assurance and other solutions is that Specializ can gain consensus on the results of the assurance initiative from all stakeholders impacted, in fact, if a such assurance involved gaining acceptance from a group of 10,000 users that would be fast and efficient using Specializ. For example, you obtain the following types of information from stakeholders:</a:t>
            </a:r>
            <a:endParaRPr lang="en-AU" dirty="0"/>
          </a:p>
          <a:p>
            <a:pPr marL="285750" lvl="0" indent="-285750">
              <a:spcBef>
                <a:spcPts val="600"/>
              </a:spcBef>
              <a:buFont typeface="Arial" pitchFamily="34" charset="0"/>
              <a:buChar char="•"/>
            </a:pPr>
            <a:r>
              <a:rPr lang="en-AU" sz="1600" dirty="0"/>
              <a:t>What were the outcomes achieved by the project?</a:t>
            </a:r>
          </a:p>
          <a:p>
            <a:pPr marL="285750" lvl="0" indent="-285750">
              <a:spcBef>
                <a:spcPts val="600"/>
              </a:spcBef>
              <a:buFont typeface="Arial" pitchFamily="34" charset="0"/>
              <a:buChar char="•"/>
            </a:pPr>
            <a:r>
              <a:rPr lang="en-AU" sz="1600" dirty="0"/>
              <a:t>How do those outcomes compare to the planned objectives, in terms of timing, budget and required scope?</a:t>
            </a:r>
          </a:p>
          <a:p>
            <a:pPr marL="285750" lvl="0" indent="-285750">
              <a:spcBef>
                <a:spcPts val="600"/>
              </a:spcBef>
              <a:buFont typeface="Arial" pitchFamily="34" charset="0"/>
              <a:buChar char="•"/>
            </a:pPr>
            <a:r>
              <a:rPr lang="en-AU" sz="1600" dirty="0"/>
              <a:t>Have the planned organisational benefits been achieved?</a:t>
            </a:r>
          </a:p>
          <a:p>
            <a:pPr marL="285750" lvl="0" indent="-285750">
              <a:spcBef>
                <a:spcPts val="600"/>
              </a:spcBef>
              <a:buFont typeface="Arial" pitchFamily="34" charset="0"/>
              <a:buChar char="•"/>
            </a:pPr>
            <a:r>
              <a:rPr lang="en-AU" sz="1600" dirty="0"/>
              <a:t>Was the project managed, governed and delivered appropriately?</a:t>
            </a:r>
          </a:p>
          <a:p>
            <a:pPr marL="285750" lvl="0" indent="-285750">
              <a:spcBef>
                <a:spcPts val="600"/>
              </a:spcBef>
              <a:buFont typeface="Arial" pitchFamily="34" charset="0"/>
              <a:buChar char="•"/>
            </a:pPr>
            <a:r>
              <a:rPr lang="en-AU" sz="1600" dirty="0"/>
              <a:t>What were the root causes of issues experienced on the project?</a:t>
            </a:r>
          </a:p>
          <a:p>
            <a:pPr marL="285750" lvl="0" indent="-285750">
              <a:spcBef>
                <a:spcPts val="600"/>
              </a:spcBef>
              <a:buFont typeface="Arial" pitchFamily="34" charset="0"/>
              <a:buChar char="•"/>
            </a:pPr>
            <a:r>
              <a:rPr lang="en-AU" sz="1600" dirty="0"/>
              <a:t>What changes need to be made to delivered systems and processes?</a:t>
            </a:r>
          </a:p>
          <a:p>
            <a:pPr marL="285750" lvl="0" indent="-285750">
              <a:spcBef>
                <a:spcPts val="600"/>
              </a:spcBef>
              <a:buFont typeface="Arial" pitchFamily="34" charset="0"/>
              <a:buChar char="•"/>
            </a:pPr>
            <a:r>
              <a:rPr lang="en-AU" sz="1600" dirty="0"/>
              <a:t>What lessons should the organisation learn in order to deliver projects more successfully in the future</a:t>
            </a:r>
            <a:r>
              <a:rPr lang="en-AU" sz="1600" dirty="0" smtClean="0"/>
              <a:t>?</a:t>
            </a:r>
            <a:endParaRPr lang="en-AU" sz="1600" dirty="0"/>
          </a:p>
        </p:txBody>
      </p:sp>
    </p:spTree>
    <p:extLst>
      <p:ext uri="{BB962C8B-B14F-4D97-AF65-F5344CB8AC3E}">
        <p14:creationId xmlns:p14="http://schemas.microsoft.com/office/powerpoint/2010/main" val="32679288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extLst>
              <p:ext uri="{D42A27DB-BD31-4B8C-83A1-F6EECF244321}">
                <p14:modId xmlns:p14="http://schemas.microsoft.com/office/powerpoint/2010/main" val="654469950"/>
              </p:ext>
            </p:extLst>
          </p:nvPr>
        </p:nvGraphicFramePr>
        <p:xfrm>
          <a:off x="393699" y="736047"/>
          <a:ext cx="8331200" cy="5917606"/>
        </p:xfrm>
        <a:graphic>
          <a:graphicData uri="http://schemas.openxmlformats.org/drawingml/2006/table">
            <a:tbl>
              <a:tblPr/>
              <a:tblGrid>
                <a:gridCol w="3755096"/>
                <a:gridCol w="1144026"/>
                <a:gridCol w="1144026"/>
                <a:gridCol w="1144026"/>
                <a:gridCol w="1144026"/>
              </a:tblGrid>
              <a:tr h="122323">
                <a:tc>
                  <a:txBody>
                    <a:bodyPr/>
                    <a:lstStyle/>
                    <a:p>
                      <a:pPr algn="l" fontAlgn="b"/>
                      <a:r>
                        <a:rPr lang="en-AU" sz="1050" b="1" i="0" u="none" strike="noStrike" dirty="0">
                          <a:solidFill>
                            <a:srgbClr val="FFFFFF"/>
                          </a:solidFill>
                          <a:effectLst/>
                          <a:latin typeface="Arial"/>
                        </a:rPr>
                        <a:t>Cost Benefit Analysis </a:t>
                      </a:r>
                    </a:p>
                  </a:txBody>
                  <a:tcPr marL="7195" marR="7195" marT="7195" marB="0" anchor="b">
                    <a:lnL>
                      <a:noFill/>
                    </a:lnL>
                    <a:lnR>
                      <a:noFill/>
                    </a:lnR>
                    <a:lnT>
                      <a:noFill/>
                    </a:lnT>
                    <a:lnB>
                      <a:noFill/>
                    </a:lnB>
                    <a:solidFill>
                      <a:srgbClr val="002060"/>
                    </a:solidFill>
                  </a:tcPr>
                </a:tc>
                <a:tc gridSpan="4">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hMerge="1">
                  <a:txBody>
                    <a:bodyPr/>
                    <a:lstStyle/>
                    <a:p>
                      <a:endParaRPr lang="en-AU"/>
                    </a:p>
                  </a:txBody>
                  <a:tcPr/>
                </a:tc>
                <a:tc hMerge="1">
                  <a:txBody>
                    <a:bodyPr/>
                    <a:lstStyle/>
                    <a:p>
                      <a:endParaRPr lang="en-AU"/>
                    </a:p>
                  </a:txBody>
                  <a:tcPr/>
                </a:tc>
                <a:tc hMerge="1">
                  <a:txBody>
                    <a:bodyPr/>
                    <a:lstStyle/>
                    <a:p>
                      <a:endParaRPr lang="en-AU"/>
                    </a:p>
                  </a:txBody>
                  <a:tcPr/>
                </a:tc>
              </a:tr>
              <a:tr h="122323">
                <a:tc>
                  <a:txBody>
                    <a:bodyPr/>
                    <a:lstStyle/>
                    <a:p>
                      <a:pPr algn="l" fontAlgn="b"/>
                      <a:r>
                        <a:rPr lang="en-AU" sz="1050" b="1" i="0" u="none" strike="noStrike" dirty="0" smtClean="0">
                          <a:solidFill>
                            <a:srgbClr val="FFFFFF"/>
                          </a:solidFill>
                          <a:effectLst/>
                          <a:latin typeface="Arial"/>
                        </a:rPr>
                        <a:t>OH&amp;S Example</a:t>
                      </a:r>
                      <a:endParaRPr lang="en-AU" sz="1050" b="1" i="0" u="none" strike="noStrike" dirty="0">
                        <a:solidFill>
                          <a:srgbClr val="FFFFFF"/>
                        </a:solidFill>
                        <a:effectLst/>
                        <a:latin typeface="Arial"/>
                      </a:endParaRP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r>
              <a:tr h="244647">
                <a:tc>
                  <a:txBody>
                    <a:bodyPr/>
                    <a:lstStyle/>
                    <a:p>
                      <a:pPr algn="l" fontAlgn="t"/>
                      <a:r>
                        <a:rPr lang="en-AU" sz="1050" b="1" i="0" u="none" strike="noStrike">
                          <a:effectLst/>
                          <a:latin typeface="Arial"/>
                        </a:rPr>
                        <a:t>COSTS</a:t>
                      </a:r>
                    </a:p>
                  </a:txBody>
                  <a:tcPr marL="7195" marR="7195" marT="7195" marB="0">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Capital Costs</a:t>
                      </a:r>
                    </a:p>
                  </a:txBody>
                  <a:tcPr marL="7195" marR="7195" marT="7195" marB="0" anchor="b">
                    <a:lnL>
                      <a:noFill/>
                    </a:lnL>
                    <a:lnR>
                      <a:noFill/>
                    </a:lnR>
                    <a:lnT>
                      <a:noFill/>
                    </a:lnT>
                    <a:lnB>
                      <a:noFill/>
                    </a:lnB>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Licens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Host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Capital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Operating Costs</a:t>
                      </a: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a:effectLst/>
                          <a:latin typeface="Arial"/>
                        </a:rPr>
                        <a:t>Hosting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Specializ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Operating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COSTS</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r>
              <a:tr h="244647">
                <a:tc>
                  <a:txBody>
                    <a:bodyPr/>
                    <a:lstStyle/>
                    <a:p>
                      <a:pPr algn="l" fontAlgn="auto"/>
                      <a:r>
                        <a:rPr lang="en-AU" sz="1050" b="1" i="0" u="none" strike="noStrike" dirty="0">
                          <a:effectLst/>
                          <a:latin typeface="Arial"/>
                        </a:rPr>
                        <a:t>BENEFITS</a:t>
                      </a: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dirty="0">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Probability Assumptions</a:t>
                      </a:r>
                      <a:r>
                        <a:rPr lang="en-AU" sz="1050" b="0" i="1" u="none" strike="noStrike">
                          <a:effectLst/>
                          <a:latin typeface="Arial"/>
                        </a:rPr>
                        <a:t> </a:t>
                      </a:r>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dirty="0">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r>
              <a:tr h="122323">
                <a:tc>
                  <a:txBody>
                    <a:bodyPr/>
                    <a:lstStyle/>
                    <a:p>
                      <a:pPr algn="l" fontAlgn="b"/>
                      <a:r>
                        <a:rPr lang="en-AU" sz="1050" b="0" i="1" u="none" strike="noStrike">
                          <a:effectLst/>
                          <a:latin typeface="Arial"/>
                        </a:rPr>
                        <a:t>(see notes below)</a:t>
                      </a:r>
                    </a:p>
                  </a:txBody>
                  <a:tcPr marL="7195" marR="7195" marT="7195" marB="0" anchor="b">
                    <a:lnL>
                      <a:noFill/>
                    </a:lnL>
                    <a:lnR>
                      <a:noFill/>
                    </a:lnR>
                    <a:lnT>
                      <a:noFill/>
                    </a:lnT>
                    <a:lnB>
                      <a:noFill/>
                    </a:lnB>
                  </a:tcPr>
                </a:tc>
                <a:tc>
                  <a:txBody>
                    <a:bodyPr/>
                    <a:lstStyle/>
                    <a:p>
                      <a:pPr algn="ctr" fontAlgn="b"/>
                      <a:r>
                        <a:rPr lang="en-AU" sz="1050" b="0" i="0" u="none" strike="noStrike">
                          <a:effectLst/>
                          <a:latin typeface="Arial"/>
                        </a:rPr>
                        <a:t>6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7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8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90%</a:t>
                      </a:r>
                    </a:p>
                  </a:txBody>
                  <a:tcPr marL="7195" marR="7195" marT="7195" marB="0" anchor="b">
                    <a:lnL>
                      <a:noFill/>
                    </a:lnL>
                    <a:lnR>
                      <a:noFill/>
                    </a:lnR>
                    <a:lnT>
                      <a:noFill/>
                    </a:lnT>
                    <a:lnB>
                      <a:noFill/>
                    </a:lnB>
                    <a:solidFill>
                      <a:srgbClr val="FFFF00"/>
                    </a:solidFill>
                  </a:tcPr>
                </a:tc>
              </a:tr>
              <a:tr h="122323">
                <a:tc>
                  <a:txBody>
                    <a:bodyPr/>
                    <a:lstStyle/>
                    <a:p>
                      <a:pPr algn="l" fontAlgn="b"/>
                      <a:r>
                        <a:rPr lang="en-AU" sz="1050" b="1" i="0" u="none" strike="noStrike">
                          <a:effectLst/>
                          <a:latin typeface="Arial"/>
                        </a:rPr>
                        <a:t>Revenue Stream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dirty="0" smtClean="0">
                          <a:effectLst/>
                          <a:latin typeface="Arial"/>
                        </a:rPr>
                        <a:t>Savings from Risk </a:t>
                      </a:r>
                      <a:r>
                        <a:rPr lang="en-AU" sz="1050" b="0" i="0" u="none" strike="noStrike" dirty="0">
                          <a:effectLst/>
                          <a:latin typeface="Arial"/>
                        </a:rPr>
                        <a:t>Treatment</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dirty="0" smtClean="0">
                          <a:effectLst/>
                          <a:latin typeface="Arial"/>
                        </a:rPr>
                        <a:t>Savings from Time Reduction</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b"/>
                      <a:r>
                        <a:rPr lang="en-AU" sz="1050" b="0" i="0" u="none" strike="noStrike" dirty="0">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dirty="0">
                          <a:effectLst/>
                          <a:latin typeface="Arial"/>
                        </a:rPr>
                        <a:t>Total Revenue Stream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49,76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74,72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99,68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24,64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Positive Externalitie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r h="122323">
                <a:tc>
                  <a:txBody>
                    <a:bodyPr/>
                    <a:lstStyle/>
                    <a:p>
                      <a:pPr algn="l" fontAlgn="auto"/>
                      <a:r>
                        <a:rPr lang="en-AU" sz="1050" b="0" i="0" u="none" strike="noStrike" dirty="0" smtClean="0">
                          <a:effectLst/>
                          <a:latin typeface="Arial"/>
                        </a:rPr>
                        <a:t>Reduced</a:t>
                      </a:r>
                      <a:r>
                        <a:rPr lang="en-AU" sz="1050" b="0" i="0" u="none" strike="noStrike" baseline="0" dirty="0" smtClean="0">
                          <a:effectLst/>
                          <a:latin typeface="Arial"/>
                        </a:rPr>
                        <a:t> Costs (</a:t>
                      </a:r>
                      <a:r>
                        <a:rPr lang="en-AU" sz="1050" b="0" i="0" u="none" strike="noStrike" dirty="0" smtClean="0">
                          <a:effectLst/>
                          <a:latin typeface="Arial"/>
                        </a:rPr>
                        <a:t>Loss Event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a:effectLst/>
                          <a:latin typeface="Arial"/>
                        </a:rPr>
                        <a:t>Reduction in </a:t>
                      </a:r>
                      <a:r>
                        <a:rPr lang="en-AU" sz="1050" b="0" i="0" u="none" strike="noStrike" dirty="0" smtClean="0">
                          <a:effectLst/>
                          <a:latin typeface="Arial"/>
                        </a:rPr>
                        <a:t>Human Resource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smtClean="0">
                          <a:effectLst/>
                          <a:latin typeface="Arial"/>
                        </a:rPr>
                        <a:t>Increased </a:t>
                      </a:r>
                      <a:r>
                        <a:rPr lang="en-AU" sz="1050" b="0" i="0" u="none" strike="noStrike" dirty="0">
                          <a:effectLst/>
                          <a:latin typeface="Arial"/>
                        </a:rPr>
                        <a:t>User Satisfaction</a:t>
                      </a: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1" i="0" u="none" strike="noStrike">
                          <a:effectLst/>
                          <a:latin typeface="Arial"/>
                        </a:rPr>
                        <a:t>Total Positive Externalities</a:t>
                      </a:r>
                    </a:p>
                  </a:txBody>
                  <a:tcPr marL="86346"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26,7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51,7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76,6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301,640 </a:t>
                      </a:r>
                    </a:p>
                  </a:txBody>
                  <a:tcPr marL="7195" marR="7195" marT="7195" marB="0" anchor="b">
                    <a:lnL>
                      <a:noFill/>
                    </a:lnL>
                    <a:lnR>
                      <a:noFill/>
                    </a:lnR>
                    <a:lnT>
                      <a:noFill/>
                    </a:lnT>
                    <a:lnB>
                      <a:noFill/>
                    </a:lnB>
                    <a:solidFill>
                      <a:srgbClr val="00B050"/>
                    </a:solidFill>
                  </a:tcPr>
                </a:tc>
              </a:tr>
              <a:tr h="244647">
                <a:tc>
                  <a:txBody>
                    <a:bodyPr/>
                    <a:lstStyle/>
                    <a:p>
                      <a:pPr algn="l" fontAlgn="auto"/>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solidFill>
                            <a:srgbClr val="FFFFFF"/>
                          </a:solidFill>
                          <a:effectLst/>
                          <a:latin typeface="Arial"/>
                        </a:rPr>
                        <a:t>NET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194,5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19,5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44,4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69,440 </a:t>
                      </a:r>
                    </a:p>
                  </a:txBody>
                  <a:tcPr marL="7195" marR="7195" marT="7195" marB="0" anchor="b">
                    <a:lnL>
                      <a:noFill/>
                    </a:lnL>
                    <a:lnR>
                      <a:noFill/>
                    </a:lnR>
                    <a:lnT>
                      <a:noFill/>
                    </a:lnT>
                    <a:lnB>
                      <a:noFill/>
                    </a:lnB>
                    <a:solidFill>
                      <a:srgbClr val="00B050"/>
                    </a:solidFill>
                  </a:tcPr>
                </a:tc>
              </a:tr>
              <a:tr h="122323">
                <a:tc>
                  <a:txBody>
                    <a:bodyPr/>
                    <a:lstStyle/>
                    <a:p>
                      <a:pPr algn="l" fontAlgn="b"/>
                      <a:r>
                        <a:rPr lang="en-AU" sz="1050" b="0" i="1" u="none" strike="noStrike">
                          <a:effectLst/>
                          <a:latin typeface="Arial"/>
                        </a:rPr>
                        <a:t>(Total Benefits minus Total Cost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3">
                  <a:txBody>
                    <a:bodyPr/>
                    <a:lstStyle/>
                    <a:p>
                      <a:pPr algn="l" fontAlgn="b"/>
                      <a:r>
                        <a:rPr lang="en-AU" sz="1050" b="0" i="0" u="none" strike="noStrike">
                          <a:effectLst/>
                          <a:latin typeface="Arial"/>
                        </a:rPr>
                        <a:t>Undiscounted Net Benefits ($'000)</a:t>
                      </a:r>
                    </a:p>
                  </a:txBody>
                  <a:tcPr marL="7195" marR="7195" marT="7195" marB="0" anchor="b">
                    <a:lnL>
                      <a:noFill/>
                    </a:lnL>
                    <a:lnR>
                      <a:noFill/>
                    </a:lnR>
                    <a:lnT>
                      <a:noFill/>
                    </a:lnT>
                    <a:lnB>
                      <a:noFill/>
                    </a:lnB>
                    <a:solidFill>
                      <a:srgbClr val="CCFFCC"/>
                    </a:solidFill>
                  </a:tcPr>
                </a:tc>
                <a:tc hMerge="1">
                  <a:txBody>
                    <a:bodyPr/>
                    <a:lstStyle/>
                    <a:p>
                      <a:endParaRPr lang="en-AU"/>
                    </a:p>
                  </a:txBody>
                  <a:tcPr/>
                </a:tc>
                <a:tc hMerge="1">
                  <a:txBody>
                    <a:bodyPr/>
                    <a:lstStyle/>
                    <a:p>
                      <a:endParaRPr lang="en-AU"/>
                    </a:p>
                  </a:txBody>
                  <a:tcPr/>
                </a:tc>
                <a:tc>
                  <a:txBody>
                    <a:bodyPr/>
                    <a:lstStyle/>
                    <a:p>
                      <a:pPr algn="r" fontAlgn="b"/>
                      <a:r>
                        <a:rPr lang="en-AU" sz="1050" b="0" i="0" u="none" strike="noStrike">
                          <a:effectLst/>
                          <a:latin typeface="Arial"/>
                        </a:rPr>
                        <a:t>$928,000.0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97,611.03</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8%</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60,473.72</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10%</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26,006.8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Internal Rate of Return</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7%</a:t>
                      </a:r>
                    </a:p>
                  </a:txBody>
                  <a:tcPr marL="7195" marR="7195" marT="7195" marB="0" anchor="b">
                    <a:lnL>
                      <a:noFill/>
                    </a:lnL>
                    <a:lnR>
                      <a:noFill/>
                    </a:lnR>
                    <a:lnT>
                      <a:noFill/>
                    </a:lnT>
                    <a:lnB>
                      <a:noFill/>
                    </a:lnB>
                    <a:solidFill>
                      <a:srgbClr val="CCFFCC"/>
                    </a:solidFill>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bl>
          </a:graphicData>
        </a:graphic>
      </p:graphicFrame>
      <p:sp>
        <p:nvSpPr>
          <p:cNvPr id="2" name="Title 1"/>
          <p:cNvSpPr>
            <a:spLocks noGrp="1"/>
          </p:cNvSpPr>
          <p:nvPr>
            <p:ph type="title"/>
          </p:nvPr>
        </p:nvSpPr>
        <p:spPr/>
        <p:txBody>
          <a:bodyPr/>
          <a:lstStyle/>
          <a:p>
            <a:r>
              <a:rPr lang="en-AU" dirty="0" smtClean="0"/>
              <a:t>Business Case for Specializ Software Adoption</a:t>
            </a:r>
            <a:endParaRPr lang="en-AU" dirty="0"/>
          </a:p>
        </p:txBody>
      </p:sp>
      <p:sp>
        <p:nvSpPr>
          <p:cNvPr id="34" name="Rectangle 33"/>
          <p:cNvSpPr/>
          <p:nvPr/>
        </p:nvSpPr>
        <p:spPr>
          <a:xfrm>
            <a:off x="2273300" y="22542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Assumes probability of realising benefits increases over time</a:t>
            </a:r>
            <a:endParaRPr lang="en-AU" sz="1000" dirty="0"/>
          </a:p>
        </p:txBody>
      </p:sp>
      <p:sp>
        <p:nvSpPr>
          <p:cNvPr id="38" name="Rectangle 37"/>
          <p:cNvSpPr/>
          <p:nvPr/>
        </p:nvSpPr>
        <p:spPr>
          <a:xfrm>
            <a:off x="2273300" y="29527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Savings through better matching spending to real risks</a:t>
            </a:r>
            <a:endParaRPr lang="en-AU" sz="1000" dirty="0"/>
          </a:p>
        </p:txBody>
      </p:sp>
      <p:sp>
        <p:nvSpPr>
          <p:cNvPr id="37" name="Oval 36"/>
          <p:cNvSpPr/>
          <p:nvPr/>
        </p:nvSpPr>
        <p:spPr>
          <a:xfrm>
            <a:off x="4419600" y="35179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Oval 39"/>
          <p:cNvSpPr/>
          <p:nvPr/>
        </p:nvSpPr>
        <p:spPr>
          <a:xfrm>
            <a:off x="4419600" y="36830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 name="Elbow Connector 40"/>
          <p:cNvCxnSpPr>
            <a:stCxn id="38" idx="3"/>
            <a:endCxn id="40" idx="2"/>
          </p:cNvCxnSpPr>
          <p:nvPr/>
        </p:nvCxnSpPr>
        <p:spPr>
          <a:xfrm>
            <a:off x="3810000" y="3241675"/>
            <a:ext cx="609600" cy="555625"/>
          </a:xfrm>
          <a:prstGeom prst="bentConnector3">
            <a:avLst>
              <a:gd name="adj1" fmla="val 2916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4" idx="3"/>
            <a:endCxn id="37" idx="2"/>
          </p:cNvCxnSpPr>
          <p:nvPr/>
        </p:nvCxnSpPr>
        <p:spPr>
          <a:xfrm>
            <a:off x="3810000" y="2543175"/>
            <a:ext cx="609600" cy="10890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273300" y="44894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internal/external resources are required to generate better results</a:t>
            </a:r>
            <a:endParaRPr lang="en-AU" sz="900" dirty="0"/>
          </a:p>
        </p:txBody>
      </p:sp>
      <p:cxnSp>
        <p:nvCxnSpPr>
          <p:cNvPr id="54" name="Elbow Connector 53"/>
          <p:cNvCxnSpPr>
            <a:stCxn id="51" idx="3"/>
            <a:endCxn id="66" idx="1"/>
          </p:cNvCxnSpPr>
          <p:nvPr/>
        </p:nvCxnSpPr>
        <p:spPr>
          <a:xfrm flipV="1">
            <a:off x="3810000" y="4470400"/>
            <a:ext cx="939800" cy="307975"/>
          </a:xfrm>
          <a:prstGeom prst="bentConnector3">
            <a:avLst>
              <a:gd name="adj1" fmla="val 2702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501900" y="52133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Employees own the data, fewer questions regarding its validity and less risk management effort</a:t>
            </a:r>
            <a:endParaRPr lang="en-AU" sz="900" dirty="0"/>
          </a:p>
        </p:txBody>
      </p:sp>
      <p:cxnSp>
        <p:nvCxnSpPr>
          <p:cNvPr id="60" name="Elbow Connector 59"/>
          <p:cNvCxnSpPr>
            <a:stCxn id="57" idx="3"/>
            <a:endCxn id="63" idx="1"/>
          </p:cNvCxnSpPr>
          <p:nvPr/>
        </p:nvCxnSpPr>
        <p:spPr>
          <a:xfrm flipV="1">
            <a:off x="4038600" y="4635500"/>
            <a:ext cx="711200" cy="866775"/>
          </a:xfrm>
          <a:prstGeom prst="bentConnector3">
            <a:avLst>
              <a:gd name="adj1" fmla="val 1607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749800" y="45593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Rectangle 65"/>
          <p:cNvSpPr/>
          <p:nvPr/>
        </p:nvSpPr>
        <p:spPr>
          <a:xfrm>
            <a:off x="4749800" y="43942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Rectangle 66"/>
          <p:cNvSpPr/>
          <p:nvPr/>
        </p:nvSpPr>
        <p:spPr>
          <a:xfrm>
            <a:off x="4749800" y="42291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Rectangle 71"/>
          <p:cNvSpPr/>
          <p:nvPr/>
        </p:nvSpPr>
        <p:spPr>
          <a:xfrm>
            <a:off x="2273300" y="36766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loss expenses due to better risk mitigation and control</a:t>
            </a:r>
            <a:endParaRPr lang="en-AU" sz="900" dirty="0"/>
          </a:p>
        </p:txBody>
      </p:sp>
      <p:cxnSp>
        <p:nvCxnSpPr>
          <p:cNvPr id="73" name="Elbow Connector 72"/>
          <p:cNvCxnSpPr>
            <a:stCxn id="72" idx="3"/>
            <a:endCxn id="67" idx="1"/>
          </p:cNvCxnSpPr>
          <p:nvPr/>
        </p:nvCxnSpPr>
        <p:spPr>
          <a:xfrm>
            <a:off x="3810000" y="3965575"/>
            <a:ext cx="939800" cy="3397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0608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 Placeholder 2"/>
          <p:cNvSpPr>
            <a:spLocks noGrp="1"/>
          </p:cNvSpPr>
          <p:nvPr>
            <p:ph type="body" sz="quarter" idx="12"/>
          </p:nvPr>
        </p:nvSpPr>
        <p:spPr/>
        <p:txBody>
          <a:bodyPr/>
          <a:lstStyle/>
          <a:p>
            <a:pPr>
              <a:buFont typeface="Arial"/>
              <a:buChar char="•"/>
            </a:pPr>
            <a:r>
              <a:rPr lang="en-US" dirty="0" smtClean="0"/>
              <a:t>See the benefits for yourself. Try the software for free for 30 days. </a:t>
            </a:r>
          </a:p>
          <a:p>
            <a:pPr>
              <a:buFont typeface="Arial"/>
              <a:buChar char="•"/>
            </a:pPr>
            <a:r>
              <a:rPr lang="en-US" dirty="0" smtClean="0"/>
              <a:t>Identify one or two assessments in which we can use the tool.</a:t>
            </a:r>
          </a:p>
          <a:p>
            <a:pPr>
              <a:buFont typeface="Arial"/>
              <a:buChar char="•"/>
            </a:pPr>
            <a:r>
              <a:rPr lang="en-US" dirty="0" smtClean="0"/>
              <a:t>Identify dimensions of product evaluation.</a:t>
            </a:r>
          </a:p>
          <a:p>
            <a:pPr lvl="3">
              <a:buFont typeface="Arial"/>
              <a:buChar char="•"/>
            </a:pPr>
            <a:r>
              <a:rPr lang="en-US" dirty="0" smtClean="0"/>
              <a:t>Cost savings</a:t>
            </a:r>
          </a:p>
          <a:p>
            <a:pPr lvl="3">
              <a:buFont typeface="Arial"/>
              <a:buChar char="•"/>
            </a:pPr>
            <a:r>
              <a:rPr lang="en-US" dirty="0" smtClean="0"/>
              <a:t>Accuracy</a:t>
            </a:r>
          </a:p>
          <a:p>
            <a:pPr lvl="3">
              <a:buFont typeface="Arial"/>
              <a:buChar char="•"/>
            </a:pPr>
            <a:r>
              <a:rPr lang="en-US" dirty="0" smtClean="0"/>
              <a:t>Time savings</a:t>
            </a:r>
          </a:p>
          <a:p>
            <a:pPr lvl="3">
              <a:buFont typeface="Arial"/>
              <a:buChar char="•"/>
            </a:pPr>
            <a:r>
              <a:rPr lang="en-US" dirty="0" smtClean="0"/>
              <a:t>Other dimensions?</a:t>
            </a:r>
          </a:p>
        </p:txBody>
      </p:sp>
      <p:grpSp>
        <p:nvGrpSpPr>
          <p:cNvPr id="4" name="Group 3"/>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40357578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 and Answers</a:t>
            </a:r>
            <a:endParaRPr lang="en-US" dirty="0"/>
          </a:p>
        </p:txBody>
      </p:sp>
      <p:pic>
        <p:nvPicPr>
          <p:cNvPr id="7"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12"/>
          </p:nvPr>
        </p:nvSpPr>
        <p:spPr>
          <a:xfrm>
            <a:off x="384175" y="1374779"/>
            <a:ext cx="8362950" cy="5033963"/>
          </a:xfrm>
        </p:spPr>
        <p:txBody>
          <a:bodyPr/>
          <a:lstStyle/>
          <a:p>
            <a:pPr marL="0" indent="0"/>
            <a:r>
              <a:rPr lang="en-US" dirty="0" smtClean="0"/>
              <a:t>What questions may I answer?</a:t>
            </a:r>
          </a:p>
          <a:p>
            <a:pPr marL="0" indent="0"/>
            <a:r>
              <a:rPr lang="en-US" dirty="0" smtClean="0"/>
              <a:t>Presentation Feedback?</a:t>
            </a:r>
          </a:p>
          <a:p>
            <a:pPr marL="0" indent="0"/>
            <a:r>
              <a:rPr lang="en-US" dirty="0" smtClean="0"/>
              <a:t>Need further depth from a Peoplenetz functional expert?</a:t>
            </a:r>
          </a:p>
        </p:txBody>
      </p:sp>
    </p:spTree>
    <p:extLst>
      <p:ext uri="{BB962C8B-B14F-4D97-AF65-F5344CB8AC3E}">
        <p14:creationId xmlns:p14="http://schemas.microsoft.com/office/powerpoint/2010/main" val="2552103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overview</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t>
            </a:r>
            <a:r>
              <a:rPr lang="en-AU" dirty="0"/>
              <a:t>is a powerful information generation tool. It is possible to gain consensus among thousands of people and slice and dice the information in virtually anyway </a:t>
            </a:r>
            <a:r>
              <a:rPr lang="en-AU" dirty="0" smtClean="0"/>
              <a:t>imaginable.</a:t>
            </a:r>
          </a:p>
          <a:p>
            <a:pPr marL="177800" indent="-177800">
              <a:buFont typeface="Arial" pitchFamily="34" charset="0"/>
              <a:buChar char="•"/>
            </a:pPr>
            <a:r>
              <a:rPr lang="en-AU" dirty="0" smtClean="0"/>
              <a:t>For </a:t>
            </a:r>
            <a:r>
              <a:rPr lang="en-AU" dirty="0"/>
              <a:t>example, </a:t>
            </a:r>
            <a:r>
              <a:rPr lang="en-AU" dirty="0" smtClean="0"/>
              <a:t>you could assess project risks, </a:t>
            </a:r>
            <a:r>
              <a:rPr lang="en-AU" dirty="0"/>
              <a:t>per </a:t>
            </a:r>
            <a:r>
              <a:rPr lang="en-AU" dirty="0" smtClean="0"/>
              <a:t>area and per geography of your project. You can also gain consensus on risk impact, likelihood, mitigation and treatment. </a:t>
            </a:r>
            <a:r>
              <a:rPr lang="en-AU" dirty="0"/>
              <a:t>We can </a:t>
            </a:r>
            <a:r>
              <a:rPr lang="en-AU" dirty="0" smtClean="0"/>
              <a:t>also gain </a:t>
            </a:r>
            <a:r>
              <a:rPr lang="en-AU" dirty="0"/>
              <a:t>different levels of consensus for each </a:t>
            </a:r>
            <a:r>
              <a:rPr lang="en-AU" dirty="0" smtClean="0"/>
              <a:t>area of project risk.</a:t>
            </a:r>
            <a:endParaRPr lang="en-AU" dirty="0"/>
          </a:p>
          <a:p>
            <a:pPr marL="177800" indent="-177800">
              <a:buFont typeface="Arial" pitchFamily="34" charset="0"/>
              <a:buChar char="•"/>
            </a:pPr>
            <a:r>
              <a:rPr lang="en-AU" dirty="0" smtClean="0"/>
              <a:t>To increase the accuracy of results Specializ </a:t>
            </a:r>
            <a:r>
              <a:rPr lang="en-AU" dirty="0"/>
              <a:t>utilises populations instead of samples and guarantees consensus amongst participants.</a:t>
            </a:r>
          </a:p>
          <a:p>
            <a:pPr marL="177800" indent="-177800">
              <a:buFont typeface="Arial" pitchFamily="34" charset="0"/>
              <a:buChar char="•"/>
            </a:pPr>
            <a:r>
              <a:rPr lang="en-AU" dirty="0" smtClean="0"/>
              <a:t>Specializ implements a standard social science research method called the Delphi Technique which was designed to generate rich contextual information among participants and gain consensus on that information.</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150684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utomating Project Assessments in Specializ</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llows organisations to build any number of </a:t>
            </a:r>
            <a:r>
              <a:rPr lang="en-AU" b="1" i="1" dirty="0" smtClean="0">
                <a:solidFill>
                  <a:schemeClr val="accent1"/>
                </a:solidFill>
              </a:rPr>
              <a:t>libraries</a:t>
            </a:r>
            <a:r>
              <a:rPr lang="en-AU" dirty="0" smtClean="0">
                <a:solidFill>
                  <a:schemeClr val="accent1"/>
                </a:solidFill>
              </a:rPr>
              <a:t>.</a:t>
            </a:r>
            <a:r>
              <a:rPr lang="en-AU" dirty="0" smtClean="0"/>
              <a:t> For example organisations can quickly build project risk assessments, project health checks, project assurance validation and post implementation reviews unique to each project.</a:t>
            </a:r>
          </a:p>
          <a:p>
            <a:pPr marL="177800" indent="-177800">
              <a:buFont typeface="Arial" pitchFamily="34" charset="0"/>
              <a:buChar char="•"/>
            </a:pPr>
            <a:r>
              <a:rPr lang="en-AU" dirty="0" smtClean="0"/>
              <a:t>Specializ assessments not only give organisations accurate assessments at specific intervals but it also collects the data needed to develop the accurate KRIs for key project risks.</a:t>
            </a:r>
          </a:p>
          <a:p>
            <a:pPr marL="177800" indent="-177800">
              <a:buFont typeface="Arial" pitchFamily="34" charset="0"/>
              <a:buChar char="•"/>
            </a:pPr>
            <a:r>
              <a:rPr lang="en-AU" dirty="0" smtClean="0"/>
              <a:t>Specializ can just as easily assess any facet of a project from 10,000 people as easily as it can from 10 peopl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278787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routing </a:t>
            </a:r>
            <a:r>
              <a:rPr lang="en-AU" dirty="0"/>
              <a:t>t</a:t>
            </a:r>
            <a:r>
              <a:rPr lang="en-AU" dirty="0" smtClean="0"/>
              <a:t>ree</a:t>
            </a:r>
            <a:endParaRPr lang="en-AU" dirty="0"/>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pic>
        <p:nvPicPr>
          <p:cNvPr id="2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91197"/>
            <a:ext cx="9144000" cy="4160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8820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technology</a:t>
            </a:r>
            <a:endParaRPr lang="en-AU" dirty="0"/>
          </a:p>
        </p:txBody>
      </p:sp>
      <p:sp>
        <p:nvSpPr>
          <p:cNvPr id="3" name="Text Placeholder 2"/>
          <p:cNvSpPr>
            <a:spLocks noGrp="1"/>
          </p:cNvSpPr>
          <p:nvPr>
            <p:ph type="body" sz="quarter" idx="12"/>
          </p:nvPr>
        </p:nvSpPr>
        <p:spPr>
          <a:xfrm>
            <a:off x="384175" y="1374779"/>
            <a:ext cx="8362950" cy="1978025"/>
          </a:xfrm>
        </p:spPr>
        <p:txBody>
          <a:bodyPr/>
          <a:lstStyle/>
          <a:p>
            <a:pPr marL="0" indent="0"/>
            <a:r>
              <a:rPr lang="en-AU" b="1" dirty="0" smtClean="0"/>
              <a:t>Specializ operates in one of three ways:</a:t>
            </a:r>
          </a:p>
          <a:p>
            <a:pPr marL="192088" lvl="2" indent="-177800">
              <a:buFont typeface="Arial" pitchFamily="34" charset="0"/>
              <a:buChar char="•"/>
            </a:pPr>
            <a:r>
              <a:rPr lang="en-AU" sz="1800" dirty="0" err="1" smtClean="0"/>
              <a:t>SaaS</a:t>
            </a:r>
            <a:r>
              <a:rPr lang="en-AU" sz="1800" dirty="0" smtClean="0"/>
              <a:t> in the Amazon EC2 environment (over SSL) </a:t>
            </a:r>
          </a:p>
          <a:p>
            <a:pPr marL="192088" lvl="2" indent="-177800">
              <a:buFont typeface="Arial" pitchFamily="34" charset="0"/>
              <a:buChar char="•"/>
            </a:pPr>
            <a:r>
              <a:rPr lang="en-AU" sz="1800" dirty="0" smtClean="0"/>
              <a:t>Deployed to your environment as a </a:t>
            </a:r>
            <a:r>
              <a:rPr lang="en-AU" sz="1800" dirty="0" err="1" smtClean="0"/>
              <a:t>VMWare</a:t>
            </a:r>
            <a:r>
              <a:rPr lang="en-AU" sz="1800" dirty="0" smtClean="0"/>
              <a:t> Linux instance</a:t>
            </a:r>
          </a:p>
          <a:p>
            <a:pPr marL="192088" lvl="2" indent="-177800">
              <a:buFont typeface="Arial" pitchFamily="34" charset="0"/>
              <a:buChar char="•"/>
            </a:pPr>
            <a:r>
              <a:rPr lang="en-AU" sz="1800" dirty="0"/>
              <a:t>D</a:t>
            </a:r>
            <a:r>
              <a:rPr lang="en-AU" sz="1800" dirty="0" smtClean="0"/>
              <a:t>eployed to Amazon EC2 or </a:t>
            </a:r>
            <a:r>
              <a:rPr lang="en-AU" sz="1800" dirty="0" err="1" smtClean="0"/>
              <a:t>Rackspace</a:t>
            </a:r>
            <a:r>
              <a:rPr lang="en-AU" sz="1800" dirty="0" smtClean="0"/>
              <a:t> Australia and only you can access it – </a:t>
            </a:r>
            <a:r>
              <a:rPr lang="en-AU" sz="1800" b="1" i="1" dirty="0" smtClean="0">
                <a:solidFill>
                  <a:srgbClr val="FF0000"/>
                </a:solidFill>
              </a:rPr>
              <a:t>NOT EVEN WE CAN GET TO IT</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
        <p:nvSpPr>
          <p:cNvPr id="8" name="Rectangle 7"/>
          <p:cNvSpPr/>
          <p:nvPr/>
        </p:nvSpPr>
        <p:spPr>
          <a:xfrm>
            <a:off x="317502" y="3225800"/>
            <a:ext cx="8509000" cy="1651000"/>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complicated technical implementation </a:t>
            </a:r>
            <a:r>
              <a:rPr lang="en-AU" sz="1400" dirty="0" smtClean="0"/>
              <a:t>with Specializ, either go directly to your website with </a:t>
            </a:r>
            <a:r>
              <a:rPr lang="en-AU" sz="1400" dirty="0" err="1" smtClean="0"/>
              <a:t>SaaS</a:t>
            </a:r>
            <a:r>
              <a:rPr lang="en-AU" sz="1400" dirty="0" smtClean="0"/>
              <a:t> or drop the </a:t>
            </a:r>
            <a:r>
              <a:rPr lang="en-AU" sz="1400" dirty="0" err="1" smtClean="0"/>
              <a:t>VMWare</a:t>
            </a:r>
            <a:r>
              <a:rPr lang="en-AU" sz="1400" dirty="0" smtClean="0"/>
              <a:t> instance into your environment – </a:t>
            </a:r>
            <a:r>
              <a:rPr lang="en-AU" sz="1400" i="1" dirty="0" smtClean="0">
                <a:solidFill>
                  <a:schemeClr val="accent5"/>
                </a:solidFill>
              </a:rPr>
              <a:t>It is that easy</a:t>
            </a:r>
            <a:endParaRPr lang="en-AU" sz="1400" i="1" dirty="0">
              <a:solidFill>
                <a:schemeClr val="accent5"/>
              </a:solidFill>
            </a:endParaRPr>
          </a:p>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functional implementation </a:t>
            </a:r>
            <a:r>
              <a:rPr lang="en-AU" sz="1400" dirty="0" smtClean="0"/>
              <a:t>associated with Specializ, simply build your organisational hierarchy and content and you are done – </a:t>
            </a:r>
            <a:r>
              <a:rPr lang="en-AU" sz="1400" i="1" dirty="0">
                <a:solidFill>
                  <a:schemeClr val="accent5"/>
                </a:solidFill>
              </a:rPr>
              <a:t>It is that </a:t>
            </a:r>
            <a:r>
              <a:rPr lang="en-AU" sz="1400" i="1" dirty="0" smtClean="0">
                <a:solidFill>
                  <a:schemeClr val="accent5"/>
                </a:solidFill>
              </a:rPr>
              <a:t>easy</a:t>
            </a:r>
          </a:p>
          <a:p>
            <a:pPr marL="358775" indent="-358775" defTabSz="957263">
              <a:lnSpc>
                <a:spcPct val="106000"/>
              </a:lnSpc>
              <a:buFont typeface="Wingdings" pitchFamily="2" charset="2"/>
              <a:buChar char="ü"/>
            </a:pPr>
            <a:r>
              <a:rPr lang="en-AU" sz="1400" dirty="0" smtClean="0">
                <a:solidFill>
                  <a:schemeClr val="bg1"/>
                </a:solidFill>
              </a:rPr>
              <a:t>Pass through authentication to active directory so even user management is easy</a:t>
            </a:r>
          </a:p>
          <a:p>
            <a:pPr marL="358775" indent="-358775" defTabSz="957263">
              <a:lnSpc>
                <a:spcPct val="106000"/>
              </a:lnSpc>
              <a:buFont typeface="Wingdings" pitchFamily="2" charset="2"/>
              <a:buChar char="ü"/>
            </a:pPr>
            <a:r>
              <a:rPr lang="en-AU" sz="1400" dirty="0" smtClean="0">
                <a:solidFill>
                  <a:schemeClr val="bg1"/>
                </a:solidFill>
              </a:rPr>
              <a:t>There are </a:t>
            </a:r>
            <a:r>
              <a:rPr lang="en-AU" sz="1400" b="1" u="sng" dirty="0" smtClean="0">
                <a:solidFill>
                  <a:srgbClr val="FFFF00"/>
                </a:solidFill>
              </a:rPr>
              <a:t>no hidden configurations </a:t>
            </a:r>
            <a:r>
              <a:rPr lang="en-AU" sz="1400" dirty="0" smtClean="0">
                <a:solidFill>
                  <a:schemeClr val="bg1"/>
                </a:solidFill>
              </a:rPr>
              <a:t>to manage, we do all the hard work for you</a:t>
            </a:r>
            <a:endParaRPr lang="en-AU" sz="1400" dirty="0">
              <a:solidFill>
                <a:schemeClr val="bg1"/>
              </a:solidFill>
            </a:endParaRPr>
          </a:p>
        </p:txBody>
      </p:sp>
    </p:spTree>
    <p:extLst>
      <p:ext uri="{BB962C8B-B14F-4D97-AF65-F5344CB8AC3E}">
        <p14:creationId xmlns:p14="http://schemas.microsoft.com/office/powerpoint/2010/main" val="8818448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Libraries </a:t>
            </a:r>
            <a:r>
              <a:rPr lang="en-AU" dirty="0"/>
              <a:t>a</a:t>
            </a:r>
            <a:r>
              <a:rPr lang="en-AU" dirty="0" smtClean="0"/>
              <a:t>ccelerate your organisation</a:t>
            </a:r>
            <a:endParaRPr lang="en-AU" dirty="0"/>
          </a:p>
        </p:txBody>
      </p:sp>
      <p:sp>
        <p:nvSpPr>
          <p:cNvPr id="3" name="Text Placeholder 2"/>
          <p:cNvSpPr>
            <a:spLocks noGrp="1"/>
          </p:cNvSpPr>
          <p:nvPr>
            <p:ph type="body" sz="quarter" idx="12"/>
          </p:nvPr>
        </p:nvSpPr>
        <p:spPr>
          <a:xfrm>
            <a:off x="384175" y="841379"/>
            <a:ext cx="8362950" cy="1190625"/>
          </a:xfrm>
        </p:spPr>
        <p:txBody>
          <a:bodyPr/>
          <a:lstStyle/>
          <a:p>
            <a:pPr marL="0" indent="0"/>
            <a:r>
              <a:rPr lang="en-AU" dirty="0"/>
              <a:t>Specializ </a:t>
            </a:r>
            <a:r>
              <a:rPr lang="en-AU" dirty="0" smtClean="0"/>
              <a:t>is not limited to any particular field or industry. Just a few of its applications across industries and functions are listed below. The solutions below already exist in Specializ as built-in libraries. If you do not see the content you need we will build it for you and </a:t>
            </a:r>
            <a:r>
              <a:rPr lang="en-AU" b="1" i="1" dirty="0" smtClean="0">
                <a:solidFill>
                  <a:schemeClr val="accent3"/>
                </a:solidFill>
              </a:rPr>
              <a:t>FAST</a:t>
            </a:r>
            <a:r>
              <a:rPr lang="en-AU" dirty="0" smtClean="0">
                <a:solidFill>
                  <a:schemeClr val="accent3"/>
                </a:solidFill>
              </a:rPr>
              <a:t> </a:t>
            </a:r>
            <a:r>
              <a:rPr lang="en-AU" dirty="0" smtClean="0"/>
              <a:t>(less than three day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graphicFrame>
        <p:nvGraphicFramePr>
          <p:cNvPr id="4" name="Table 3"/>
          <p:cNvGraphicFramePr>
            <a:graphicFrameLocks noGrp="1"/>
          </p:cNvGraphicFramePr>
          <p:nvPr>
            <p:extLst>
              <p:ext uri="{D42A27DB-BD31-4B8C-83A1-F6EECF244321}">
                <p14:modId xmlns:p14="http://schemas.microsoft.com/office/powerpoint/2010/main" val="2635533548"/>
              </p:ext>
            </p:extLst>
          </p:nvPr>
        </p:nvGraphicFramePr>
        <p:xfrm>
          <a:off x="381000" y="2038349"/>
          <a:ext cx="8382000" cy="4150360"/>
        </p:xfrm>
        <a:graphic>
          <a:graphicData uri="http://schemas.openxmlformats.org/drawingml/2006/table">
            <a:tbl>
              <a:tblPr firstRow="1" bandRow="1">
                <a:tableStyleId>{58DD5831-5125-4D1D-A9A5-347843CA56AB}</a:tableStyleId>
              </a:tblPr>
              <a:tblGrid>
                <a:gridCol w="2120900"/>
                <a:gridCol w="6261100"/>
              </a:tblGrid>
              <a:tr h="370840">
                <a:tc>
                  <a:txBody>
                    <a:bodyPr/>
                    <a:lstStyle/>
                    <a:p>
                      <a:r>
                        <a:rPr lang="en-AU" dirty="0" smtClean="0"/>
                        <a:t>Industry</a:t>
                      </a:r>
                      <a:endParaRPr lang="en-AU" dirty="0"/>
                    </a:p>
                  </a:txBody>
                  <a:tcPr/>
                </a:tc>
                <a:tc>
                  <a:txBody>
                    <a:bodyPr/>
                    <a:lstStyle/>
                    <a:p>
                      <a:r>
                        <a:rPr lang="en-AU" dirty="0" smtClean="0"/>
                        <a:t>Application</a:t>
                      </a:r>
                      <a:endParaRPr lang="en-AU" dirty="0"/>
                    </a:p>
                  </a:txBody>
                  <a:tcPr/>
                </a:tc>
              </a:tr>
              <a:tr h="370840">
                <a:tc>
                  <a:txBody>
                    <a:bodyPr/>
                    <a:lstStyle/>
                    <a:p>
                      <a:r>
                        <a:rPr lang="en-AU" sz="1400" dirty="0" smtClean="0"/>
                        <a:t>Project Management</a:t>
                      </a:r>
                      <a:endParaRPr lang="en-AU" sz="1400" dirty="0"/>
                    </a:p>
                  </a:txBody>
                  <a:tcPr/>
                </a:tc>
                <a:tc>
                  <a:txBody>
                    <a:bodyPr/>
                    <a:lstStyle/>
                    <a:p>
                      <a:pPr marL="285750" indent="-285750">
                        <a:buFont typeface="Arial" pitchFamily="34" charset="0"/>
                        <a:buChar char="•"/>
                      </a:pPr>
                      <a:r>
                        <a:rPr lang="en-AU" sz="1400" dirty="0" smtClean="0"/>
                        <a:t>Requirements gathering</a:t>
                      </a:r>
                    </a:p>
                    <a:p>
                      <a:pPr marL="285750" indent="-285750">
                        <a:buFont typeface="Arial" pitchFamily="34" charset="0"/>
                        <a:buChar char="•"/>
                      </a:pPr>
                      <a:r>
                        <a:rPr lang="en-AU" sz="1400" dirty="0" smtClean="0"/>
                        <a:t>Project risk</a:t>
                      </a:r>
                      <a:endParaRPr lang="en-AU" sz="1400" baseline="0" dirty="0" smtClean="0"/>
                    </a:p>
                    <a:p>
                      <a:pPr marL="285750" indent="-285750">
                        <a:buFont typeface="Arial" pitchFamily="34" charset="0"/>
                        <a:buChar char="•"/>
                      </a:pPr>
                      <a:r>
                        <a:rPr lang="en-AU" sz="1400" baseline="0" dirty="0" smtClean="0"/>
                        <a:t>Project assurance</a:t>
                      </a:r>
                    </a:p>
                    <a:p>
                      <a:pPr marL="285750" indent="-285750">
                        <a:buFont typeface="Arial" pitchFamily="34" charset="0"/>
                        <a:buChar char="•"/>
                      </a:pPr>
                      <a:r>
                        <a:rPr lang="en-AU" sz="1400" dirty="0" smtClean="0"/>
                        <a:t>Post implementation</a:t>
                      </a:r>
                      <a:r>
                        <a:rPr lang="en-AU" sz="1400" baseline="0" dirty="0" smtClean="0"/>
                        <a:t> reviews</a:t>
                      </a:r>
                      <a:endParaRPr lang="en-AU" sz="1400" dirty="0"/>
                    </a:p>
                  </a:txBody>
                  <a:tcPr/>
                </a:tc>
              </a:tr>
              <a:tr h="370840">
                <a:tc>
                  <a:txBody>
                    <a:bodyPr/>
                    <a:lstStyle/>
                    <a:p>
                      <a:r>
                        <a:rPr lang="en-AU" sz="1400" dirty="0" smtClean="0"/>
                        <a:t>Environmental, Health</a:t>
                      </a:r>
                      <a:r>
                        <a:rPr lang="en-AU" sz="1400" baseline="0" dirty="0" smtClean="0"/>
                        <a:t> and Safety</a:t>
                      </a:r>
                      <a:endParaRPr lang="en-AU" sz="1400" dirty="0"/>
                    </a:p>
                  </a:txBody>
                  <a:tcPr/>
                </a:tc>
                <a:tc>
                  <a:txBody>
                    <a:bodyPr/>
                    <a:lstStyle/>
                    <a:p>
                      <a:pPr marL="285750" indent="-285750">
                        <a:buFont typeface="Arial" pitchFamily="34" charset="0"/>
                        <a:buChar char="•"/>
                      </a:pPr>
                      <a:r>
                        <a:rPr lang="en-AU" sz="1400" dirty="0" smtClean="0"/>
                        <a:t>ISO 14000 environmental management</a:t>
                      </a:r>
                      <a:r>
                        <a:rPr lang="en-AU" sz="1400" baseline="0" dirty="0" smtClean="0"/>
                        <a:t> systems</a:t>
                      </a:r>
                    </a:p>
                    <a:p>
                      <a:pPr marL="285750" indent="-285750">
                        <a:buFont typeface="Arial" pitchFamily="34" charset="0"/>
                        <a:buChar char="•"/>
                      </a:pPr>
                      <a:r>
                        <a:rPr lang="en-AU" sz="1400" baseline="0" dirty="0" smtClean="0"/>
                        <a:t>Environmental metrics</a:t>
                      </a:r>
                    </a:p>
                    <a:p>
                      <a:pPr marL="285750" indent="-285750">
                        <a:buFont typeface="Arial" pitchFamily="34" charset="0"/>
                        <a:buChar char="•"/>
                      </a:pPr>
                      <a:r>
                        <a:rPr lang="en-AU" sz="1400" b="0" i="0" baseline="0" dirty="0" smtClean="0"/>
                        <a:t>WHS, OH&amp;S, OSHA assessment and metrics</a:t>
                      </a:r>
                      <a:endParaRPr lang="en-AU" sz="1400" b="0" i="0" dirty="0"/>
                    </a:p>
                  </a:txBody>
                  <a:tcPr/>
                </a:tc>
              </a:tr>
              <a:tr h="370840">
                <a:tc>
                  <a:txBody>
                    <a:bodyPr/>
                    <a:lstStyle/>
                    <a:p>
                      <a:r>
                        <a:rPr lang="en-AU" sz="1400" dirty="0" smtClean="0"/>
                        <a:t>Risk Management</a:t>
                      </a:r>
                      <a:endParaRPr lang="en-AU" sz="1400" dirty="0"/>
                    </a:p>
                  </a:txBody>
                  <a:tcPr/>
                </a:tc>
                <a:tc>
                  <a:txBody>
                    <a:bodyPr/>
                    <a:lstStyle/>
                    <a:p>
                      <a:pPr marL="285750" indent="-285750">
                        <a:buFont typeface="Arial" pitchFamily="34" charset="0"/>
                        <a:buChar char="•"/>
                      </a:pPr>
                      <a:r>
                        <a:rPr lang="en-AU" sz="1400" dirty="0" smtClean="0"/>
                        <a:t>COSO</a:t>
                      </a:r>
                      <a:r>
                        <a:rPr lang="en-AU" sz="1400" baseline="0" dirty="0" smtClean="0"/>
                        <a:t> enterprise risk management</a:t>
                      </a:r>
                    </a:p>
                    <a:p>
                      <a:pPr marL="285750" indent="-285750">
                        <a:buFont typeface="Arial" pitchFamily="34" charset="0"/>
                        <a:buChar char="•"/>
                      </a:pPr>
                      <a:r>
                        <a:rPr lang="en-AU" sz="1400" baseline="0" dirty="0" smtClean="0"/>
                        <a:t>IRM assessment and testing</a:t>
                      </a:r>
                    </a:p>
                    <a:p>
                      <a:pPr marL="285750" indent="-285750">
                        <a:buFont typeface="Arial" pitchFamily="34" charset="0"/>
                        <a:buChar char="•"/>
                      </a:pPr>
                      <a:r>
                        <a:rPr lang="en-AU" sz="1400" baseline="0" dirty="0" smtClean="0"/>
                        <a:t>ISO 27001 assessment and testing</a:t>
                      </a:r>
                    </a:p>
                    <a:p>
                      <a:pPr marL="285750" indent="-285750">
                        <a:buFont typeface="Arial" pitchFamily="34" charset="0"/>
                        <a:buChar char="•"/>
                      </a:pPr>
                      <a:r>
                        <a:rPr lang="en-AU" sz="1400" baseline="0" dirty="0" smtClean="0"/>
                        <a:t>NIST/DIACAP/DITSCAP assessment and testing</a:t>
                      </a:r>
                    </a:p>
                    <a:p>
                      <a:pPr marL="285750" indent="-285750">
                        <a:buFont typeface="Arial" pitchFamily="34" charset="0"/>
                        <a:buChar char="•"/>
                      </a:pPr>
                      <a:r>
                        <a:rPr lang="en-AU" sz="1400" baseline="0" dirty="0" smtClean="0"/>
                        <a:t>FISMA and A-123 compliance testing, certification and accreditation</a:t>
                      </a:r>
                    </a:p>
                    <a:p>
                      <a:pPr marL="285750" indent="-285750">
                        <a:buFont typeface="Arial" pitchFamily="34" charset="0"/>
                        <a:buChar char="•"/>
                      </a:pPr>
                      <a:r>
                        <a:rPr lang="en-AU" sz="1400" baseline="0" dirty="0" smtClean="0"/>
                        <a:t>IT maturity assessments based on COBIT</a:t>
                      </a:r>
                    </a:p>
                  </a:txBody>
                  <a:tcPr/>
                </a:tc>
              </a:tr>
              <a:tr h="370840">
                <a:tc>
                  <a:txBody>
                    <a:bodyPr/>
                    <a:lstStyle/>
                    <a:p>
                      <a:r>
                        <a:rPr lang="en-AU" sz="1400" dirty="0" smtClean="0"/>
                        <a:t>Process Improvement</a:t>
                      </a:r>
                      <a:endParaRPr lang="en-AU" sz="1400" dirty="0"/>
                    </a:p>
                  </a:txBody>
                  <a:tcPr/>
                </a:tc>
                <a:tc>
                  <a:txBody>
                    <a:bodyPr/>
                    <a:lstStyle/>
                    <a:p>
                      <a:pPr marL="285750" indent="-285750">
                        <a:buFont typeface="Arial" pitchFamily="34" charset="0"/>
                        <a:buChar char="•"/>
                      </a:pPr>
                      <a:r>
                        <a:rPr lang="en-AU" sz="1400" baseline="0" dirty="0" smtClean="0"/>
                        <a:t>Lean management</a:t>
                      </a:r>
                    </a:p>
                    <a:p>
                      <a:pPr marL="285750" indent="-285750">
                        <a:buFont typeface="Arial" pitchFamily="34" charset="0"/>
                        <a:buChar char="•"/>
                      </a:pPr>
                      <a:r>
                        <a:rPr lang="en-AU" sz="1400" baseline="0" dirty="0" smtClean="0"/>
                        <a:t>Process improvement and business process redesign</a:t>
                      </a:r>
                    </a:p>
                    <a:p>
                      <a:pPr marL="285750" indent="-285750">
                        <a:buFont typeface="Arial" pitchFamily="34" charset="0"/>
                        <a:buChar char="•"/>
                      </a:pPr>
                      <a:r>
                        <a:rPr lang="en-AU" sz="1400" baseline="0" dirty="0" smtClean="0"/>
                        <a:t>Six Sigma re-engineering</a:t>
                      </a:r>
                    </a:p>
                  </a:txBody>
                  <a:tcPr/>
                </a:tc>
              </a:tr>
            </a:tbl>
          </a:graphicData>
        </a:graphic>
      </p:graphicFrame>
    </p:spTree>
    <p:extLst>
      <p:ext uri="{BB962C8B-B14F-4D97-AF65-F5344CB8AC3E}">
        <p14:creationId xmlns:p14="http://schemas.microsoft.com/office/powerpoint/2010/main" val="1208290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198304" y="3602517"/>
            <a:ext cx="8637224" cy="2493484"/>
          </a:xfrm>
          <a:prstGeom prst="roundRect">
            <a:avLst>
              <a:gd name="adj" fmla="val 4951"/>
            </a:avLst>
          </a:prstGeom>
          <a:solidFill>
            <a:schemeClr val="bg1">
              <a:lumMod val="8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Case Study: Project Management</a:t>
            </a:r>
            <a:endParaRPr lang="en-AU" dirty="0"/>
          </a:p>
        </p:txBody>
      </p:sp>
      <p:sp>
        <p:nvSpPr>
          <p:cNvPr id="3" name="Text Placeholder 2"/>
          <p:cNvSpPr>
            <a:spLocks noGrp="1"/>
          </p:cNvSpPr>
          <p:nvPr>
            <p:ph type="body" sz="quarter" idx="12"/>
          </p:nvPr>
        </p:nvSpPr>
        <p:spPr>
          <a:xfrm>
            <a:off x="384175" y="1187486"/>
            <a:ext cx="8362950" cy="2018422"/>
          </a:xfrm>
        </p:spPr>
        <p:txBody>
          <a:bodyPr/>
          <a:lstStyle/>
          <a:p>
            <a:pPr marL="0" indent="0"/>
            <a:r>
              <a:rPr lang="en-AU" sz="2000" dirty="0" smtClean="0"/>
              <a:t>In this presentation we will compare two methodologies for Project Assessment:</a:t>
            </a:r>
            <a:endParaRPr lang="en-AU" sz="2000" b="1" dirty="0" smtClean="0"/>
          </a:p>
          <a:p>
            <a:pPr marL="855663" lvl="3" indent="-285750">
              <a:spcBef>
                <a:spcPts val="600"/>
              </a:spcBef>
              <a:buFont typeface="Arial" pitchFamily="34" charset="0"/>
              <a:buChar char="•"/>
            </a:pPr>
            <a:r>
              <a:rPr lang="en-AU" sz="2000" b="1" dirty="0" smtClean="0"/>
              <a:t>The Workshop and Interview approaches to Project Assessment</a:t>
            </a:r>
          </a:p>
          <a:p>
            <a:pPr marL="855663" lvl="3" indent="-285750">
              <a:spcBef>
                <a:spcPts val="600"/>
              </a:spcBef>
              <a:buFont typeface="Arial" pitchFamily="34" charset="0"/>
              <a:buChar char="•"/>
            </a:pPr>
            <a:r>
              <a:rPr lang="en-AU" sz="2000" b="1" dirty="0" smtClean="0"/>
              <a:t>The Specializ</a:t>
            </a:r>
            <a:r>
              <a:rPr lang="en-AU" sz="2000" b="1" dirty="0"/>
              <a:t> </a:t>
            </a:r>
            <a:r>
              <a:rPr lang="en-AU" sz="2000" b="1" dirty="0" smtClean="0"/>
              <a:t>approach</a:t>
            </a:r>
            <a:endParaRPr lang="en-AU" sz="2000" b="1" dirty="0"/>
          </a:p>
        </p:txBody>
      </p:sp>
      <p:grpSp>
        <p:nvGrpSpPr>
          <p:cNvPr id="11" name="Group 10"/>
          <p:cNvGrpSpPr/>
          <p:nvPr/>
        </p:nvGrpSpPr>
        <p:grpSpPr>
          <a:xfrm>
            <a:off x="464444" y="3962132"/>
            <a:ext cx="961369" cy="819613"/>
            <a:chOff x="7560860" y="1390246"/>
            <a:chExt cx="1320541" cy="1125823"/>
          </a:xfrm>
        </p:grpSpPr>
        <p:sp>
          <p:nvSpPr>
            <p:cNvPr id="12" name="Rectangle 11"/>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3" name="TextBox 12"/>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4" name="TextBox 13"/>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5" name="Straight Connector 14"/>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ext Placeholder 2"/>
          <p:cNvSpPr txBox="1">
            <a:spLocks/>
          </p:cNvSpPr>
          <p:nvPr/>
        </p:nvSpPr>
        <p:spPr>
          <a:xfrm>
            <a:off x="1639830" y="3756304"/>
            <a:ext cx="7094594" cy="2252861"/>
          </a:xfrm>
          <a:prstGeom prst="rect">
            <a:avLst/>
          </a:prstGeom>
        </p:spPr>
        <p:txBody>
          <a:bodyPr wrap="square" lIns="0" tIns="0" rIns="0" bIns="0">
            <a:spAutoFit/>
          </a:bodyPr>
          <a:lstStyle>
            <a:lvl1pPr marL="358775" indent="-358775" algn="l" defTabSz="957263" rtl="0" eaLnBrk="1" fontAlgn="base" hangingPunct="1">
              <a:lnSpc>
                <a:spcPct val="106000"/>
              </a:lnSpc>
              <a:spcBef>
                <a:spcPts val="1344"/>
              </a:spcBef>
              <a:spcAft>
                <a:spcPts val="0"/>
              </a:spcAft>
              <a:buFont typeface="Arial" charset="0"/>
              <a:defRPr lang="en-US" sz="1800" kern="1200">
                <a:solidFill>
                  <a:schemeClr val="tx1"/>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800" kern="1200">
                <a:solidFill>
                  <a:schemeClr val="tx1"/>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600" kern="1200">
                <a:solidFill>
                  <a:schemeClr val="tx1"/>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indent="0"/>
            <a:r>
              <a:rPr lang="en-AU" dirty="0" smtClean="0"/>
              <a:t>Using each methodology across 7 BNH lines of business, we will highlight the differences in attaining:</a:t>
            </a:r>
          </a:p>
          <a:p>
            <a:pPr marL="671513" lvl="4" indent="-285750">
              <a:lnSpc>
                <a:spcPct val="100000"/>
              </a:lnSpc>
              <a:spcBef>
                <a:spcPts val="0"/>
              </a:spcBef>
              <a:buFont typeface="Arial" pitchFamily="34" charset="0"/>
              <a:buChar char="•"/>
            </a:pPr>
            <a:endParaRPr lang="en-AU" sz="1800" b="1" dirty="0" smtClean="0"/>
          </a:p>
          <a:p>
            <a:pPr marL="671513" lvl="4" indent="-285750">
              <a:lnSpc>
                <a:spcPct val="100000"/>
              </a:lnSpc>
              <a:spcBef>
                <a:spcPts val="0"/>
              </a:spcBef>
              <a:buFont typeface="Arial" pitchFamily="34" charset="0"/>
              <a:buChar char="•"/>
            </a:pPr>
            <a:r>
              <a:rPr lang="en-AU" sz="1800" b="1" dirty="0" smtClean="0"/>
              <a:t>Requirements gathering</a:t>
            </a:r>
          </a:p>
          <a:p>
            <a:pPr marL="671513" lvl="4" indent="-285750">
              <a:buFont typeface="Arial" pitchFamily="34" charset="0"/>
              <a:buChar char="•"/>
            </a:pPr>
            <a:r>
              <a:rPr lang="en-AU" sz="1800" b="1" dirty="0" smtClean="0"/>
              <a:t>Project risk</a:t>
            </a:r>
          </a:p>
          <a:p>
            <a:pPr marL="671513" lvl="4" indent="-285750">
              <a:buFont typeface="Arial" pitchFamily="34" charset="0"/>
              <a:buChar char="•"/>
            </a:pPr>
            <a:r>
              <a:rPr lang="en-AU" sz="1800" b="1" dirty="0" smtClean="0"/>
              <a:t>Project assurance</a:t>
            </a:r>
          </a:p>
          <a:p>
            <a:pPr marL="671513" lvl="4" indent="-285750">
              <a:buFont typeface="Arial" pitchFamily="34" charset="0"/>
              <a:buChar char="•"/>
            </a:pPr>
            <a:r>
              <a:rPr lang="en-AU" sz="1800" b="1" dirty="0" smtClean="0"/>
              <a:t>Post implementation review</a:t>
            </a:r>
            <a:endParaRPr lang="en-AU" sz="1800" b="1" dirty="0"/>
          </a:p>
        </p:txBody>
      </p:sp>
    </p:spTree>
    <p:extLst>
      <p:ext uri="{BB962C8B-B14F-4D97-AF65-F5344CB8AC3E}">
        <p14:creationId xmlns:p14="http://schemas.microsoft.com/office/powerpoint/2010/main" val="219062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300039"/>
            <a:ext cx="8362950" cy="438092"/>
          </a:xfrm>
        </p:spPr>
        <p:txBody>
          <a:bodyPr/>
          <a:lstStyle/>
          <a:p>
            <a:r>
              <a:rPr lang="en-AU" dirty="0" smtClean="0"/>
              <a:t>Interviews and workshops introduce inefficiencies to Project Assessment</a:t>
            </a:r>
            <a:endParaRPr lang="en-AU" dirty="0"/>
          </a:p>
        </p:txBody>
      </p:sp>
      <p:sp>
        <p:nvSpPr>
          <p:cNvPr id="4" name="Text Placeholder 3"/>
          <p:cNvSpPr>
            <a:spLocks noGrp="1"/>
          </p:cNvSpPr>
          <p:nvPr>
            <p:ph type="body" sz="quarter" idx="12"/>
          </p:nvPr>
        </p:nvSpPr>
        <p:spPr>
          <a:xfrm>
            <a:off x="384175" y="1000200"/>
            <a:ext cx="8362950" cy="5146603"/>
          </a:xfrm>
        </p:spPr>
        <p:txBody>
          <a:bodyPr/>
          <a:lstStyle/>
          <a:p>
            <a:pPr marL="341313" indent="-341313">
              <a:buSzPct val="120000"/>
              <a:buFont typeface="Arial" pitchFamily="34" charset="0"/>
              <a:buChar char="•"/>
            </a:pPr>
            <a:r>
              <a:rPr lang="en-AU" b="1" dirty="0" smtClean="0"/>
              <a:t>Interviews and workshops are a common vehicle used to conduct Project Assessments of all types.</a:t>
            </a:r>
          </a:p>
          <a:p>
            <a:pPr marL="341313" indent="-341313">
              <a:buSzPct val="120000"/>
              <a:buFont typeface="Arial" pitchFamily="34" charset="0"/>
              <a:buChar char="•"/>
            </a:pPr>
            <a:r>
              <a:rPr lang="en-AU" b="1" dirty="0" smtClean="0"/>
              <a:t>When used to collect project information, interviews and workshops suffer from a number of problems including:</a:t>
            </a:r>
          </a:p>
          <a:p>
            <a:pPr marL="0" indent="0"/>
            <a:endParaRPr lang="en-AU" dirty="0" smtClean="0"/>
          </a:p>
          <a:p>
            <a:pPr marL="728663" lvl="4" indent="-342900">
              <a:lnSpc>
                <a:spcPct val="100000"/>
              </a:lnSpc>
              <a:spcBef>
                <a:spcPts val="0"/>
              </a:spcBef>
              <a:spcAft>
                <a:spcPts val="600"/>
              </a:spcAft>
              <a:buFont typeface="+mj-lt"/>
              <a:buAutoNum type="arabicPeriod"/>
            </a:pPr>
            <a:r>
              <a:rPr lang="en-AU" dirty="0" smtClean="0"/>
              <a:t>Considerable stakeholder </a:t>
            </a:r>
            <a:r>
              <a:rPr lang="en-AU" dirty="0"/>
              <a:t>time and </a:t>
            </a:r>
            <a:r>
              <a:rPr lang="en-AU" dirty="0" smtClean="0"/>
              <a:t>commitment required</a:t>
            </a:r>
            <a:endParaRPr lang="en-AU" dirty="0"/>
          </a:p>
          <a:p>
            <a:pPr marL="728663" lvl="4" indent="-342900">
              <a:spcBef>
                <a:spcPts val="600"/>
              </a:spcBef>
              <a:spcAft>
                <a:spcPts val="600"/>
              </a:spcAft>
              <a:buFont typeface="+mj-lt"/>
              <a:buAutoNum type="arabicPeriod"/>
            </a:pPr>
            <a:r>
              <a:rPr lang="en-AU" dirty="0" smtClean="0"/>
              <a:t>Results are neither consistent nor directly comparable across workshops</a:t>
            </a:r>
          </a:p>
          <a:p>
            <a:pPr marL="728663" lvl="4" indent="-342900">
              <a:spcBef>
                <a:spcPts val="600"/>
              </a:spcBef>
              <a:spcAft>
                <a:spcPts val="600"/>
              </a:spcAft>
              <a:buFont typeface="+mj-lt"/>
              <a:buAutoNum type="arabicPeriod"/>
            </a:pPr>
            <a:r>
              <a:rPr lang="en-AU" dirty="0" smtClean="0"/>
              <a:t>Sample sizes are too small to base important decisions on</a:t>
            </a:r>
          </a:p>
          <a:p>
            <a:pPr marL="728663" lvl="4" indent="-342900">
              <a:spcBef>
                <a:spcPts val="600"/>
              </a:spcBef>
              <a:spcAft>
                <a:spcPts val="600"/>
              </a:spcAft>
              <a:buFont typeface="+mj-lt"/>
              <a:buAutoNum type="arabicPeriod"/>
            </a:pPr>
            <a:r>
              <a:rPr lang="en-AU" dirty="0" smtClean="0"/>
              <a:t>High costs associated with sampling more stakeholders due to travel, facilitation, analysis and reporting fees</a:t>
            </a:r>
            <a:endParaRPr lang="en-AU" dirty="0"/>
          </a:p>
          <a:p>
            <a:pPr marL="728663" lvl="4" indent="-342900">
              <a:spcBef>
                <a:spcPts val="600"/>
              </a:spcBef>
              <a:spcAft>
                <a:spcPts val="600"/>
              </a:spcAft>
              <a:buFont typeface="+mj-lt"/>
              <a:buAutoNum type="arabicPeriod"/>
            </a:pPr>
            <a:r>
              <a:rPr lang="en-AU" dirty="0" smtClean="0"/>
              <a:t>Failure to collect information accurate enough to support decision-making or to justify the cost of data collection</a:t>
            </a:r>
          </a:p>
          <a:p>
            <a:pPr marL="728663" lvl="4" indent="-342900">
              <a:spcBef>
                <a:spcPts val="600"/>
              </a:spcBef>
              <a:spcAft>
                <a:spcPts val="600"/>
              </a:spcAft>
              <a:buFont typeface="+mj-lt"/>
              <a:buAutoNum type="arabicPeriod"/>
            </a:pPr>
            <a:r>
              <a:rPr lang="en-AU" dirty="0" smtClean="0"/>
              <a:t>There is an inherent “expiration date” of the collected information, requiring duplication in effort and expenditure to assure ongoing accuracy </a:t>
            </a:r>
            <a:r>
              <a:rPr lang="en-AU" dirty="0"/>
              <a:t>and relevanc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712917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7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key val=&quot;0&quot;/&gt;&lt;elem&gt;&lt;m_nPartnerID val=&quot;530&quot;/&gt;&lt;m_nIndex val=&quot;3&quot;/&gt;&lt;/elem&gt;&lt;key val=&quot;11&quot;/&gt;&lt;elem&gt;&lt;m_nPartnerID val=&quot;530&quot;/&gt;&lt;m_nIndex val=&quot;3&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75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YoUpZ9Es0mXx7JqPL7o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vg5snsc0kCvkkqzsQPU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BJOKGUxUW.TcSGVKvL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sPz9eGmUiXgFQalcSo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heme/theme1.xml><?xml version="1.0" encoding="utf-8"?>
<a:theme xmlns:a="http://schemas.openxmlformats.org/drawingml/2006/main" name="Blank">
  <a:themeElements>
    <a:clrScheme name="Custom 1">
      <a:dk1>
        <a:sysClr val="windowText" lastClr="000000"/>
      </a:dk1>
      <a:lt1>
        <a:srgbClr val="FFFFFF"/>
      </a:lt1>
      <a:dk2>
        <a:srgbClr val="1F497D"/>
      </a:dk2>
      <a:lt2>
        <a:srgbClr val="FFFFFF"/>
      </a:lt2>
      <a:accent1>
        <a:srgbClr val="00A1DE"/>
      </a:accent1>
      <a:accent2>
        <a:srgbClr val="92D400"/>
      </a:accent2>
      <a:accent3>
        <a:srgbClr val="00A1DE"/>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indent="177800">
          <a:buFont typeface="Arial" pitchFamily="34" charset="0"/>
          <a:buChar char="•"/>
          <a:defRPr sz="1200" dirty="0" smtClean="0">
            <a:solidFill>
              <a:schemeClr val="tx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E96632E0A2EED4BB0DFF6DA29C88E83" ma:contentTypeVersion="0" ma:contentTypeDescription="Create a new document." ma:contentTypeScope="" ma:versionID="e06b5d922a65e9475b882be3c574a92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48FC87E-9CE6-4EDB-BD4D-19B9F373BB80}">
  <ds:schemaRefs>
    <ds:schemaRef ds:uri="http://schemas.microsoft.com/sharepoint/v3/contenttype/forms"/>
  </ds:schemaRefs>
</ds:datastoreItem>
</file>

<file path=customXml/itemProps2.xml><?xml version="1.0" encoding="utf-8"?>
<ds:datastoreItem xmlns:ds="http://schemas.openxmlformats.org/officeDocument/2006/customXml" ds:itemID="{1B669E54-CB7D-4F81-B449-0C7EB0DF6E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2DC7DBED-37A8-45DF-979E-8BD82CB8DD3A}">
  <ds:schemaRefs>
    <ds:schemaRef ds:uri="http://purl.org/dc/elements/1.1/"/>
    <ds:schemaRef ds:uri="http://purl.org/dc/dcmitype/"/>
    <ds:schemaRef ds:uri="http://schemas.microsoft.com/office/infopath/2007/PartnerControls"/>
    <ds:schemaRef ds:uri="http://schemas.openxmlformats.org/package/2006/metadata/core-properties"/>
    <ds:schemaRef ds:uri="http://purl.org/dc/terms/"/>
    <ds:schemaRef ds:uri="http://www.w3.org/XML/1998/namespace"/>
    <ds:schemaRef ds:uri="http://schemas.microsoft.com/office/2006/documentManagement/typ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lank</Template>
  <TotalTime>11125</TotalTime>
  <Words>5501</Words>
  <Application>Microsoft Office PowerPoint</Application>
  <PresentationFormat>On-screen Show (4:3)</PresentationFormat>
  <Paragraphs>549</Paragraphs>
  <Slides>23</Slides>
  <Notes>1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5" baseType="lpstr">
      <vt:lpstr>Blank</vt:lpstr>
      <vt:lpstr>think-cell Slide</vt:lpstr>
      <vt:lpstr>PowerPoint Presentation</vt:lpstr>
      <vt:lpstr>Agenda</vt:lpstr>
      <vt:lpstr>Specializ overview</vt:lpstr>
      <vt:lpstr>Automating Project Assessments in Specializ</vt:lpstr>
      <vt:lpstr>Specializ routing tree</vt:lpstr>
      <vt:lpstr>Specializ technology</vt:lpstr>
      <vt:lpstr>Specializ Libraries accelerate your organisation</vt:lpstr>
      <vt:lpstr>Case Study: Project Management</vt:lpstr>
      <vt:lpstr>Interviews and workshops introduce inefficiencies to Project Assessment</vt:lpstr>
      <vt:lpstr>Project Information gathering from the perspective of the Project Manager</vt:lpstr>
      <vt:lpstr>Specializ Time-to-Assess decreases with each Assessment</vt:lpstr>
      <vt:lpstr>Scheduling and performing Project Risk Assessments</vt:lpstr>
      <vt:lpstr>Project Assessment statistics</vt:lpstr>
      <vt:lpstr>Specializ process of developing Project Assessments</vt:lpstr>
      <vt:lpstr>Maintaining accurate project data</vt:lpstr>
      <vt:lpstr>Summary of Workshop and Specializ approaches</vt:lpstr>
      <vt:lpstr>Requirements gathering in Specializ</vt:lpstr>
      <vt:lpstr>Project risk</vt:lpstr>
      <vt:lpstr>Project assurance on requirements</vt:lpstr>
      <vt:lpstr>Ad-hoc project assurance</vt:lpstr>
      <vt:lpstr>Business Case for Specializ Software Adoption</vt:lpstr>
      <vt:lpstr>Next Steps</vt:lpstr>
      <vt:lpstr>Questions and Answers</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Harrison, Michael (AU - Sydney)</dc:creator>
  <cp:lastModifiedBy>mharrison</cp:lastModifiedBy>
  <cp:revision>278</cp:revision>
  <cp:lastPrinted>2012-04-17T06:10:03Z</cp:lastPrinted>
  <dcterms:created xsi:type="dcterms:W3CDTF">2012-03-23T03:36:28Z</dcterms:created>
  <dcterms:modified xsi:type="dcterms:W3CDTF">2012-07-26T05:2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6632E0A2EED4BB0DFF6DA29C88E83</vt:lpwstr>
  </property>
</Properties>
</file>